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256" r:id="rId2"/>
    <p:sldId id="260" r:id="rId3"/>
    <p:sldId id="296" r:id="rId4"/>
    <p:sldId id="262" r:id="rId5"/>
    <p:sldId id="289" r:id="rId6"/>
    <p:sldId id="290" r:id="rId7"/>
    <p:sldId id="265" r:id="rId8"/>
    <p:sldId id="297" r:id="rId9"/>
    <p:sldId id="299" r:id="rId10"/>
    <p:sldId id="285" r:id="rId1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2330ED-7649-C04C-69BE-776BC2E0C3AF}" name="Amy Sousa" initials="AS" userId="S::asousa@guildhumanservices.org::f115a187-a385-43ab-96ae-37f834e1c8b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77673" autoAdjust="0"/>
  </p:normalViewPr>
  <p:slideViewPr>
    <p:cSldViewPr snapToGrid="0">
      <p:cViewPr>
        <p:scale>
          <a:sx n="66" d="100"/>
          <a:sy n="66" d="100"/>
        </p:scale>
        <p:origin x="120" y="-4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579A31-1D89-4237-A8DD-EE704B86574A}"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909C49BD-0010-4BC0-B898-07EE6B161454}">
      <dgm:prSet phldrT="[Text]"/>
      <dgm:spPr/>
      <dgm:t>
        <a:bodyPr/>
        <a:lstStyle/>
        <a:p>
          <a:r>
            <a:rPr lang="en-US" dirty="0"/>
            <a:t>Chief Clinical Officer</a:t>
          </a:r>
        </a:p>
      </dgm:t>
    </dgm:pt>
    <dgm:pt modelId="{989E29AA-1946-4861-8F53-78F2C899E569}" type="parTrans" cxnId="{FD241D8F-0BDE-4EBE-A012-84BB65312C0A}">
      <dgm:prSet/>
      <dgm:spPr/>
      <dgm:t>
        <a:bodyPr/>
        <a:lstStyle/>
        <a:p>
          <a:endParaRPr lang="en-US"/>
        </a:p>
      </dgm:t>
    </dgm:pt>
    <dgm:pt modelId="{2E3F73FD-D747-4C5B-BF1D-0D275BC78717}" type="sibTrans" cxnId="{FD241D8F-0BDE-4EBE-A012-84BB65312C0A}">
      <dgm:prSet/>
      <dgm:spPr/>
      <dgm:t>
        <a:bodyPr/>
        <a:lstStyle/>
        <a:p>
          <a:endParaRPr lang="en-US"/>
        </a:p>
      </dgm:t>
    </dgm:pt>
    <dgm:pt modelId="{2EFBE88D-83B4-4AFF-9864-7E1168D9B117}">
      <dgm:prSet phldrT="[Text]"/>
      <dgm:spPr/>
      <dgm:t>
        <a:bodyPr/>
        <a:lstStyle/>
        <a:p>
          <a:r>
            <a:rPr lang="en-US" dirty="0"/>
            <a:t>Director of Admissions and Family Services</a:t>
          </a:r>
        </a:p>
      </dgm:t>
    </dgm:pt>
    <dgm:pt modelId="{C6E30F49-0865-4BAD-8DF1-A33084B5D19F}" type="parTrans" cxnId="{C09CB503-619A-4B41-A8C0-7C3B3AD6D0DF}">
      <dgm:prSet/>
      <dgm:spPr/>
      <dgm:t>
        <a:bodyPr/>
        <a:lstStyle/>
        <a:p>
          <a:endParaRPr lang="en-US"/>
        </a:p>
      </dgm:t>
    </dgm:pt>
    <dgm:pt modelId="{ABCEF8F5-B0FC-40A4-9D9F-6990234D9064}" type="sibTrans" cxnId="{C09CB503-619A-4B41-A8C0-7C3B3AD6D0DF}">
      <dgm:prSet/>
      <dgm:spPr/>
      <dgm:t>
        <a:bodyPr/>
        <a:lstStyle/>
        <a:p>
          <a:endParaRPr lang="en-US"/>
        </a:p>
      </dgm:t>
    </dgm:pt>
    <dgm:pt modelId="{BD936F0E-780A-4626-A2D2-DA8328BB123F}">
      <dgm:prSet phldrT="[Text]"/>
      <dgm:spPr/>
      <dgm:t>
        <a:bodyPr/>
        <a:lstStyle/>
        <a:p>
          <a:r>
            <a:rPr lang="en-US" dirty="0"/>
            <a:t>Clinical Advisory Team</a:t>
          </a:r>
        </a:p>
      </dgm:t>
    </dgm:pt>
    <dgm:pt modelId="{307E6BEE-F401-41B0-BC60-DC748931C0F8}" type="parTrans" cxnId="{E9AE31A9-8DCC-42E5-8ACF-8E2F2D7B5B45}">
      <dgm:prSet/>
      <dgm:spPr/>
      <dgm:t>
        <a:bodyPr/>
        <a:lstStyle/>
        <a:p>
          <a:endParaRPr lang="en-US"/>
        </a:p>
      </dgm:t>
    </dgm:pt>
    <dgm:pt modelId="{03309E84-CA50-49C8-9648-DCCD5331860D}" type="sibTrans" cxnId="{E9AE31A9-8DCC-42E5-8ACF-8E2F2D7B5B45}">
      <dgm:prSet/>
      <dgm:spPr/>
      <dgm:t>
        <a:bodyPr/>
        <a:lstStyle/>
        <a:p>
          <a:endParaRPr lang="en-US"/>
        </a:p>
      </dgm:t>
    </dgm:pt>
    <dgm:pt modelId="{137CBA56-A3BD-447D-AD51-1D4F922C3BE4}">
      <dgm:prSet/>
      <dgm:spPr/>
      <dgm:t>
        <a:bodyPr/>
        <a:lstStyle/>
        <a:p>
          <a:r>
            <a:rPr lang="en-US" dirty="0"/>
            <a:t>Admissions Manager</a:t>
          </a:r>
        </a:p>
      </dgm:t>
    </dgm:pt>
    <dgm:pt modelId="{0647963A-8F6A-4991-988A-FA9FE52C7B16}" type="parTrans" cxnId="{5B466796-6F50-48D8-9809-A708D729662B}">
      <dgm:prSet/>
      <dgm:spPr/>
      <dgm:t>
        <a:bodyPr/>
        <a:lstStyle/>
        <a:p>
          <a:endParaRPr lang="en-US"/>
        </a:p>
      </dgm:t>
    </dgm:pt>
    <dgm:pt modelId="{E0007C65-96F8-4C2F-82B1-72F924EC7F78}" type="sibTrans" cxnId="{5B466796-6F50-48D8-9809-A708D729662B}">
      <dgm:prSet/>
      <dgm:spPr/>
      <dgm:t>
        <a:bodyPr/>
        <a:lstStyle/>
        <a:p>
          <a:endParaRPr lang="en-US"/>
        </a:p>
      </dgm:t>
    </dgm:pt>
    <dgm:pt modelId="{A230BDFB-FCBE-4F64-BD1E-704483798B0C}">
      <dgm:prSet/>
      <dgm:spPr/>
      <dgm:t>
        <a:bodyPr/>
        <a:lstStyle/>
        <a:p>
          <a:r>
            <a:rPr lang="en-US" dirty="0"/>
            <a:t>Admissions Specialist/Clerk</a:t>
          </a:r>
        </a:p>
      </dgm:t>
    </dgm:pt>
    <dgm:pt modelId="{4166C7AD-9507-49AD-A82F-92DE0694A31A}" type="parTrans" cxnId="{D5067923-4C0B-42FB-AFEA-283F913FEE27}">
      <dgm:prSet/>
      <dgm:spPr/>
      <dgm:t>
        <a:bodyPr/>
        <a:lstStyle/>
        <a:p>
          <a:endParaRPr lang="en-US"/>
        </a:p>
      </dgm:t>
    </dgm:pt>
    <dgm:pt modelId="{473F3EBA-2E84-41E5-B0E5-10CFE6A13000}" type="sibTrans" cxnId="{D5067923-4C0B-42FB-AFEA-283F913FEE27}">
      <dgm:prSet/>
      <dgm:spPr/>
      <dgm:t>
        <a:bodyPr/>
        <a:lstStyle/>
        <a:p>
          <a:endParaRPr lang="en-US"/>
        </a:p>
      </dgm:t>
    </dgm:pt>
    <dgm:pt modelId="{B3D64F30-DCB3-4549-A73A-4E8FB22D7404}">
      <dgm:prSet/>
      <dgm:spPr/>
      <dgm:t>
        <a:bodyPr/>
        <a:lstStyle/>
        <a:p>
          <a:r>
            <a:rPr lang="en-US" dirty="0"/>
            <a:t>Transition Specialist</a:t>
          </a:r>
        </a:p>
      </dgm:t>
    </dgm:pt>
    <dgm:pt modelId="{8400348D-63E9-41CD-B061-E6FD645361AF}" type="parTrans" cxnId="{E883D0E7-C552-42F6-B91E-2C37EA2B8BF2}">
      <dgm:prSet/>
      <dgm:spPr/>
      <dgm:t>
        <a:bodyPr/>
        <a:lstStyle/>
        <a:p>
          <a:endParaRPr lang="en-US"/>
        </a:p>
      </dgm:t>
    </dgm:pt>
    <dgm:pt modelId="{CED31DCE-B953-4787-9B95-4894F1480F0C}" type="sibTrans" cxnId="{E883D0E7-C552-42F6-B91E-2C37EA2B8BF2}">
      <dgm:prSet/>
      <dgm:spPr/>
      <dgm:t>
        <a:bodyPr/>
        <a:lstStyle/>
        <a:p>
          <a:endParaRPr lang="en-US"/>
        </a:p>
      </dgm:t>
    </dgm:pt>
    <dgm:pt modelId="{29BE7CB2-1918-4D08-9877-647BE3DCCC6F}">
      <dgm:prSet/>
      <dgm:spPr/>
      <dgm:t>
        <a:bodyPr/>
        <a:lstStyle/>
        <a:p>
          <a:r>
            <a:rPr lang="en-US" dirty="0"/>
            <a:t>Family Engagement Counselors</a:t>
          </a:r>
        </a:p>
      </dgm:t>
    </dgm:pt>
    <dgm:pt modelId="{2154B4D4-5D10-42B2-9B3B-08B3B8B07C7B}" type="parTrans" cxnId="{C577E196-ED5D-4A36-A981-BC433BB65F20}">
      <dgm:prSet/>
      <dgm:spPr/>
      <dgm:t>
        <a:bodyPr/>
        <a:lstStyle/>
        <a:p>
          <a:endParaRPr lang="en-US"/>
        </a:p>
      </dgm:t>
    </dgm:pt>
    <dgm:pt modelId="{4E50E772-F5D0-4C6E-8419-664A835EE66C}" type="sibTrans" cxnId="{C577E196-ED5D-4A36-A981-BC433BB65F20}">
      <dgm:prSet/>
      <dgm:spPr/>
      <dgm:t>
        <a:bodyPr/>
        <a:lstStyle/>
        <a:p>
          <a:endParaRPr lang="en-US"/>
        </a:p>
      </dgm:t>
    </dgm:pt>
    <dgm:pt modelId="{8EE3BC46-3809-4A21-8F55-5AEA5FF1F1B7}">
      <dgm:prSe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4">
            <a:lumMod val="20000"/>
            <a:lumOff val="80000"/>
          </a:schemeClr>
        </a:solidFill>
      </dgm:spPr>
      <dgm:t>
        <a:bodyPr rtlCol="0" anchor="ctr"/>
        <a:lstStyle/>
        <a:p>
          <a:pPr marL="0" algn="ctr" defTabSz="914400" rtl="0" eaLnBrk="1" latinLnBrk="0" hangingPunct="1"/>
          <a:r>
            <a:rPr lang="en-US" sz="1400" kern="1200" dirty="0">
              <a:solidFill>
                <a:schemeClr val="accent1"/>
              </a:solidFill>
              <a:latin typeface="+mn-lt"/>
              <a:ea typeface="+mn-ea"/>
              <a:cs typeface="+mn-cs"/>
            </a:rPr>
            <a:t>Clinical </a:t>
          </a:r>
          <a:r>
            <a:rPr lang="en-US" sz="1300" kern="1200" dirty="0">
              <a:solidFill>
                <a:schemeClr val="accent1"/>
              </a:solidFill>
              <a:latin typeface="+mn-lt"/>
              <a:ea typeface="+mn-ea"/>
              <a:cs typeface="+mn-cs"/>
            </a:rPr>
            <a:t>Advisor</a:t>
          </a:r>
          <a:r>
            <a:rPr lang="en-US" sz="1400" kern="1200" dirty="0">
              <a:solidFill>
                <a:schemeClr val="accent1"/>
              </a:solidFill>
              <a:latin typeface="+mn-lt"/>
              <a:ea typeface="+mn-ea"/>
              <a:cs typeface="+mn-cs"/>
            </a:rPr>
            <a:t> ABA</a:t>
          </a:r>
        </a:p>
      </dgm:t>
    </dgm:pt>
    <dgm:pt modelId="{02573F40-1BBE-48E9-80E5-754B1A5D99A6}" type="parTrans" cxnId="{5045E364-581E-4770-AC57-45FE3558A0A4}">
      <dgm:prSet/>
      <dgm:spPr/>
      <dgm:t>
        <a:bodyPr/>
        <a:lstStyle/>
        <a:p>
          <a:endParaRPr lang="en-US"/>
        </a:p>
      </dgm:t>
    </dgm:pt>
    <dgm:pt modelId="{30299F86-A360-4B88-B5D7-56E881E314F3}" type="sibTrans" cxnId="{5045E364-581E-4770-AC57-45FE3558A0A4}">
      <dgm:prSet/>
      <dgm:spPr/>
      <dgm:t>
        <a:bodyPr/>
        <a:lstStyle/>
        <a:p>
          <a:endParaRPr lang="en-US"/>
        </a:p>
      </dgm:t>
    </dgm:pt>
    <dgm:pt modelId="{55AD0F5C-9BD1-4734-B1C0-CE228204C142}">
      <dgm:prSe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4">
            <a:lumMod val="20000"/>
            <a:lumOff val="80000"/>
          </a:schemeClr>
        </a:solidFill>
      </dgm:spPr>
      <dgm:t>
        <a:bodyPr rtlCol="0" anchor="ctr"/>
        <a:lstStyle/>
        <a:p>
          <a:pPr marL="0" algn="ctr" defTabSz="914400" rtl="0" eaLnBrk="1" latinLnBrk="0" hangingPunct="1"/>
          <a:r>
            <a:rPr lang="en-US" sz="1300" kern="1200" dirty="0">
              <a:solidFill>
                <a:schemeClr val="accent1"/>
              </a:solidFill>
              <a:latin typeface="+mn-lt"/>
              <a:ea typeface="+mn-ea"/>
              <a:cs typeface="+mn-cs"/>
            </a:rPr>
            <a:t>Clinical Advisor Mental Health</a:t>
          </a:r>
        </a:p>
      </dgm:t>
    </dgm:pt>
    <dgm:pt modelId="{FDB97557-76D6-420E-83FC-39F0936F00A2}" type="parTrans" cxnId="{834F6F9B-DEE4-48F4-A1DE-CC95A9B286B3}">
      <dgm:prSet/>
      <dgm:spPr/>
      <dgm:t>
        <a:bodyPr/>
        <a:lstStyle/>
        <a:p>
          <a:endParaRPr lang="en-US"/>
        </a:p>
      </dgm:t>
    </dgm:pt>
    <dgm:pt modelId="{46E3F067-3469-4E36-ABBB-2E1B2AFA4890}" type="sibTrans" cxnId="{834F6F9B-DEE4-48F4-A1DE-CC95A9B286B3}">
      <dgm:prSet/>
      <dgm:spPr/>
      <dgm:t>
        <a:bodyPr/>
        <a:lstStyle/>
        <a:p>
          <a:endParaRPr lang="en-US"/>
        </a:p>
      </dgm:t>
    </dgm:pt>
    <dgm:pt modelId="{BC7327BB-3DA5-4777-A610-43C373998F28}">
      <dgm:prSe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4">
            <a:lumMod val="20000"/>
            <a:lumOff val="80000"/>
          </a:schemeClr>
        </a:solidFill>
      </dgm:spPr>
      <dgm:t>
        <a:bodyPr rtlCol="0" anchor="ctr"/>
        <a:lstStyle/>
        <a:p>
          <a:pPr marL="0" algn="ctr" defTabSz="914400" rtl="0" eaLnBrk="1" latinLnBrk="0" hangingPunct="1"/>
          <a:r>
            <a:rPr lang="en-US" sz="1300" kern="1200" dirty="0">
              <a:solidFill>
                <a:schemeClr val="accent1"/>
              </a:solidFill>
              <a:latin typeface="+mn-lt"/>
              <a:ea typeface="+mn-ea"/>
              <a:cs typeface="+mn-cs"/>
            </a:rPr>
            <a:t>Clinical Advisor </a:t>
          </a:r>
          <a:r>
            <a:rPr lang="en-US" sz="1300" kern="1200" dirty="0">
              <a:solidFill>
                <a:srgbClr val="002F87"/>
              </a:solidFill>
              <a:latin typeface="Century Gothic"/>
              <a:ea typeface="+mn-ea"/>
              <a:cs typeface="+mn-cs"/>
            </a:rPr>
            <a:t>Related</a:t>
          </a:r>
          <a:r>
            <a:rPr lang="en-US" sz="1300" kern="1200" dirty="0">
              <a:solidFill>
                <a:schemeClr val="accent1"/>
              </a:solidFill>
              <a:latin typeface="+mn-lt"/>
              <a:ea typeface="+mn-ea"/>
              <a:cs typeface="+mn-cs"/>
            </a:rPr>
            <a:t> Services</a:t>
          </a:r>
        </a:p>
      </dgm:t>
    </dgm:pt>
    <dgm:pt modelId="{CB83CBC1-E62C-48A6-8DED-175A1D50AEAC}" type="parTrans" cxnId="{1F625C2E-E57D-4F54-AF78-087D4905D2FD}">
      <dgm:prSet/>
      <dgm:spPr/>
      <dgm:t>
        <a:bodyPr/>
        <a:lstStyle/>
        <a:p>
          <a:endParaRPr lang="en-US"/>
        </a:p>
      </dgm:t>
    </dgm:pt>
    <dgm:pt modelId="{E6E8737F-1823-4884-BD64-B193696DDE74}" type="sibTrans" cxnId="{1F625C2E-E57D-4F54-AF78-087D4905D2FD}">
      <dgm:prSet/>
      <dgm:spPr/>
      <dgm:t>
        <a:bodyPr/>
        <a:lstStyle/>
        <a:p>
          <a:endParaRPr lang="en-US"/>
        </a:p>
      </dgm:t>
    </dgm:pt>
    <dgm:pt modelId="{AC658E31-21DE-4F22-8275-4FEAD497F336}">
      <dgm:prSet/>
      <dgm:spPr/>
      <dgm:t>
        <a:bodyPr/>
        <a:lstStyle/>
        <a:p>
          <a:r>
            <a:rPr lang="en-US" dirty="0"/>
            <a:t>Psychologist</a:t>
          </a:r>
        </a:p>
      </dgm:t>
    </dgm:pt>
    <dgm:pt modelId="{31255BDC-2DDA-4C02-AF9D-2307A4356A0C}" type="parTrans" cxnId="{0DD64535-983B-47A9-9D39-440DE490C0BE}">
      <dgm:prSet/>
      <dgm:spPr/>
      <dgm:t>
        <a:bodyPr/>
        <a:lstStyle/>
        <a:p>
          <a:endParaRPr lang="en-US"/>
        </a:p>
      </dgm:t>
    </dgm:pt>
    <dgm:pt modelId="{21C8A0FE-098E-40F1-93DF-EF3B1A4FCFC8}" type="sibTrans" cxnId="{0DD64535-983B-47A9-9D39-440DE490C0BE}">
      <dgm:prSet/>
      <dgm:spPr/>
      <dgm:t>
        <a:bodyPr/>
        <a:lstStyle/>
        <a:p>
          <a:endParaRPr lang="en-US"/>
        </a:p>
      </dgm:t>
    </dgm:pt>
    <dgm:pt modelId="{384350DA-6A9E-4698-BE3D-F1287F1FEDA1}" type="pres">
      <dgm:prSet presAssocID="{1E579A31-1D89-4237-A8DD-EE704B86574A}" presName="hierChild1" presStyleCnt="0">
        <dgm:presLayoutVars>
          <dgm:orgChart val="1"/>
          <dgm:chPref val="1"/>
          <dgm:dir/>
          <dgm:animOne val="branch"/>
          <dgm:animLvl val="lvl"/>
          <dgm:resizeHandles/>
        </dgm:presLayoutVars>
      </dgm:prSet>
      <dgm:spPr/>
    </dgm:pt>
    <dgm:pt modelId="{5F320907-9ADC-4EBF-946F-55701AEB9365}" type="pres">
      <dgm:prSet presAssocID="{909C49BD-0010-4BC0-B898-07EE6B161454}" presName="hierRoot1" presStyleCnt="0">
        <dgm:presLayoutVars>
          <dgm:hierBranch val="init"/>
        </dgm:presLayoutVars>
      </dgm:prSet>
      <dgm:spPr/>
    </dgm:pt>
    <dgm:pt modelId="{04BACF31-F6F5-47F8-9246-0D9F3DC559C6}" type="pres">
      <dgm:prSet presAssocID="{909C49BD-0010-4BC0-B898-07EE6B161454}" presName="rootComposite1" presStyleCnt="0"/>
      <dgm:spPr/>
    </dgm:pt>
    <dgm:pt modelId="{6B86BB4E-18D7-4B22-A733-15A96D72073C}" type="pres">
      <dgm:prSet presAssocID="{909C49BD-0010-4BC0-B898-07EE6B161454}" presName="rootText1" presStyleLbl="node0" presStyleIdx="0" presStyleCnt="1">
        <dgm:presLayoutVars>
          <dgm:chPref val="3"/>
        </dgm:presLayoutVars>
      </dgm:prSet>
      <dgm:spPr/>
    </dgm:pt>
    <dgm:pt modelId="{84C8C806-A7ED-460E-BCB1-5E60996D7DE1}" type="pres">
      <dgm:prSet presAssocID="{909C49BD-0010-4BC0-B898-07EE6B161454}" presName="rootConnector1" presStyleLbl="node1" presStyleIdx="0" presStyleCnt="0"/>
      <dgm:spPr/>
    </dgm:pt>
    <dgm:pt modelId="{16373CE9-B73C-40E1-A886-518EB8FFF268}" type="pres">
      <dgm:prSet presAssocID="{909C49BD-0010-4BC0-B898-07EE6B161454}" presName="hierChild2" presStyleCnt="0"/>
      <dgm:spPr/>
    </dgm:pt>
    <dgm:pt modelId="{D02283BA-7E39-4402-AF13-C9E0F3319303}" type="pres">
      <dgm:prSet presAssocID="{C6E30F49-0865-4BAD-8DF1-A33084B5D19F}" presName="Name37" presStyleLbl="parChTrans1D2" presStyleIdx="0" presStyleCnt="2"/>
      <dgm:spPr/>
    </dgm:pt>
    <dgm:pt modelId="{B9FF96C7-9AA9-41A1-A8C0-B7D3C25D6501}" type="pres">
      <dgm:prSet presAssocID="{2EFBE88D-83B4-4AFF-9864-7E1168D9B117}" presName="hierRoot2" presStyleCnt="0">
        <dgm:presLayoutVars>
          <dgm:hierBranch val="init"/>
        </dgm:presLayoutVars>
      </dgm:prSet>
      <dgm:spPr/>
    </dgm:pt>
    <dgm:pt modelId="{2CC2FCE2-394B-4F1E-954B-D32B0865C81A}" type="pres">
      <dgm:prSet presAssocID="{2EFBE88D-83B4-4AFF-9864-7E1168D9B117}" presName="rootComposite" presStyleCnt="0"/>
      <dgm:spPr/>
    </dgm:pt>
    <dgm:pt modelId="{F9B7DFFC-A32D-4B47-87D5-C92CE687886D}" type="pres">
      <dgm:prSet presAssocID="{2EFBE88D-83B4-4AFF-9864-7E1168D9B117}" presName="rootText" presStyleLbl="node2" presStyleIdx="0" presStyleCnt="2">
        <dgm:presLayoutVars>
          <dgm:chPref val="3"/>
        </dgm:presLayoutVars>
      </dgm:prSet>
      <dgm:spPr/>
    </dgm:pt>
    <dgm:pt modelId="{54480127-6449-453C-8B10-895EC2BB35CA}" type="pres">
      <dgm:prSet presAssocID="{2EFBE88D-83B4-4AFF-9864-7E1168D9B117}" presName="rootConnector" presStyleLbl="node2" presStyleIdx="0" presStyleCnt="2"/>
      <dgm:spPr/>
    </dgm:pt>
    <dgm:pt modelId="{9EC4D292-AE6F-4DD5-85F9-0F1A2BE70ABA}" type="pres">
      <dgm:prSet presAssocID="{2EFBE88D-83B4-4AFF-9864-7E1168D9B117}" presName="hierChild4" presStyleCnt="0"/>
      <dgm:spPr/>
    </dgm:pt>
    <dgm:pt modelId="{ABA78210-17DE-4EC9-B76C-686AE15AE520}" type="pres">
      <dgm:prSet presAssocID="{0647963A-8F6A-4991-988A-FA9FE52C7B16}" presName="Name37" presStyleLbl="parChTrans1D3" presStyleIdx="0" presStyleCnt="7"/>
      <dgm:spPr/>
    </dgm:pt>
    <dgm:pt modelId="{89C3D2EE-5AFB-4920-B315-E58CD71A2913}" type="pres">
      <dgm:prSet presAssocID="{137CBA56-A3BD-447D-AD51-1D4F922C3BE4}" presName="hierRoot2" presStyleCnt="0">
        <dgm:presLayoutVars>
          <dgm:hierBranch/>
        </dgm:presLayoutVars>
      </dgm:prSet>
      <dgm:spPr/>
    </dgm:pt>
    <dgm:pt modelId="{F11AECAB-6278-429E-9438-D4E073712F41}" type="pres">
      <dgm:prSet presAssocID="{137CBA56-A3BD-447D-AD51-1D4F922C3BE4}" presName="rootComposite" presStyleCnt="0"/>
      <dgm:spPr/>
    </dgm:pt>
    <dgm:pt modelId="{6A48EDA1-54B9-4A53-9A30-A07989C11C0E}" type="pres">
      <dgm:prSet presAssocID="{137CBA56-A3BD-447D-AD51-1D4F922C3BE4}" presName="rootText" presStyleLbl="node3" presStyleIdx="0" presStyleCnt="7">
        <dgm:presLayoutVars>
          <dgm:chPref val="3"/>
        </dgm:presLayoutVars>
      </dgm:prSet>
      <dgm:spPr/>
    </dgm:pt>
    <dgm:pt modelId="{073D5C44-56AB-4442-8871-9F53CCDBE63B}" type="pres">
      <dgm:prSet presAssocID="{137CBA56-A3BD-447D-AD51-1D4F922C3BE4}" presName="rootConnector" presStyleLbl="node3" presStyleIdx="0" presStyleCnt="7"/>
      <dgm:spPr/>
    </dgm:pt>
    <dgm:pt modelId="{138700AB-932E-4244-A4A4-39F896509EE0}" type="pres">
      <dgm:prSet presAssocID="{137CBA56-A3BD-447D-AD51-1D4F922C3BE4}" presName="hierChild4" presStyleCnt="0"/>
      <dgm:spPr/>
    </dgm:pt>
    <dgm:pt modelId="{F2372B3B-81EA-45FF-BC8E-0AF028310E56}" type="pres">
      <dgm:prSet presAssocID="{4166C7AD-9507-49AD-A82F-92DE0694A31A}" presName="Name35" presStyleLbl="parChTrans1D4" presStyleIdx="0" presStyleCnt="1"/>
      <dgm:spPr/>
    </dgm:pt>
    <dgm:pt modelId="{8348AAAE-9DC9-40AA-A443-923413FBFF05}" type="pres">
      <dgm:prSet presAssocID="{A230BDFB-FCBE-4F64-BD1E-704483798B0C}" presName="hierRoot2" presStyleCnt="0">
        <dgm:presLayoutVars>
          <dgm:hierBranch val="init"/>
        </dgm:presLayoutVars>
      </dgm:prSet>
      <dgm:spPr/>
    </dgm:pt>
    <dgm:pt modelId="{760056DA-B5C8-4764-97EC-858D8B07859F}" type="pres">
      <dgm:prSet presAssocID="{A230BDFB-FCBE-4F64-BD1E-704483798B0C}" presName="rootComposite" presStyleCnt="0"/>
      <dgm:spPr/>
    </dgm:pt>
    <dgm:pt modelId="{36E12490-BB68-4D0F-B1B6-5A559ACF3B72}" type="pres">
      <dgm:prSet presAssocID="{A230BDFB-FCBE-4F64-BD1E-704483798B0C}" presName="rootText" presStyleLbl="node4" presStyleIdx="0" presStyleCnt="1">
        <dgm:presLayoutVars>
          <dgm:chPref val="3"/>
        </dgm:presLayoutVars>
      </dgm:prSet>
      <dgm:spPr/>
    </dgm:pt>
    <dgm:pt modelId="{282EE7F2-F65E-48AE-8E83-71D6AAD78CD5}" type="pres">
      <dgm:prSet presAssocID="{A230BDFB-FCBE-4F64-BD1E-704483798B0C}" presName="rootConnector" presStyleLbl="node4" presStyleIdx="0" presStyleCnt="1"/>
      <dgm:spPr/>
    </dgm:pt>
    <dgm:pt modelId="{EFDCAD21-D2F4-426B-AC03-D7D8CD01E16F}" type="pres">
      <dgm:prSet presAssocID="{A230BDFB-FCBE-4F64-BD1E-704483798B0C}" presName="hierChild4" presStyleCnt="0"/>
      <dgm:spPr/>
    </dgm:pt>
    <dgm:pt modelId="{38835C6D-E7AB-4D1C-A498-D8BBAE93103E}" type="pres">
      <dgm:prSet presAssocID="{A230BDFB-FCBE-4F64-BD1E-704483798B0C}" presName="hierChild5" presStyleCnt="0"/>
      <dgm:spPr/>
    </dgm:pt>
    <dgm:pt modelId="{3398AA96-563F-44B9-8721-77FD1164E23E}" type="pres">
      <dgm:prSet presAssocID="{137CBA56-A3BD-447D-AD51-1D4F922C3BE4}" presName="hierChild5" presStyleCnt="0"/>
      <dgm:spPr/>
    </dgm:pt>
    <dgm:pt modelId="{97EB759A-E60E-4A01-8C97-867521477CAC}" type="pres">
      <dgm:prSet presAssocID="{8400348D-63E9-41CD-B061-E6FD645361AF}" presName="Name37" presStyleLbl="parChTrans1D3" presStyleIdx="1" presStyleCnt="7"/>
      <dgm:spPr/>
    </dgm:pt>
    <dgm:pt modelId="{68A8437D-A1A2-4EFC-A0A9-52C773E1612D}" type="pres">
      <dgm:prSet presAssocID="{B3D64F30-DCB3-4549-A73A-4E8FB22D7404}" presName="hierRoot2" presStyleCnt="0">
        <dgm:presLayoutVars>
          <dgm:hierBranch val="init"/>
        </dgm:presLayoutVars>
      </dgm:prSet>
      <dgm:spPr/>
    </dgm:pt>
    <dgm:pt modelId="{EDB00226-62F0-493F-AF60-1ECDD8550219}" type="pres">
      <dgm:prSet presAssocID="{B3D64F30-DCB3-4549-A73A-4E8FB22D7404}" presName="rootComposite" presStyleCnt="0"/>
      <dgm:spPr/>
    </dgm:pt>
    <dgm:pt modelId="{800F0796-91F7-4FC7-B61B-F438578AA8BF}" type="pres">
      <dgm:prSet presAssocID="{B3D64F30-DCB3-4549-A73A-4E8FB22D7404}" presName="rootText" presStyleLbl="node3" presStyleIdx="1" presStyleCnt="7">
        <dgm:presLayoutVars>
          <dgm:chPref val="3"/>
        </dgm:presLayoutVars>
      </dgm:prSet>
      <dgm:spPr/>
    </dgm:pt>
    <dgm:pt modelId="{23AA27F3-8269-4CBD-9DD2-EA1CC9B65EFF}" type="pres">
      <dgm:prSet presAssocID="{B3D64F30-DCB3-4549-A73A-4E8FB22D7404}" presName="rootConnector" presStyleLbl="node3" presStyleIdx="1" presStyleCnt="7"/>
      <dgm:spPr/>
    </dgm:pt>
    <dgm:pt modelId="{F9F8B0FA-154A-4726-9384-74E63CD2CCE2}" type="pres">
      <dgm:prSet presAssocID="{B3D64F30-DCB3-4549-A73A-4E8FB22D7404}" presName="hierChild4" presStyleCnt="0"/>
      <dgm:spPr/>
    </dgm:pt>
    <dgm:pt modelId="{29AC41E3-5745-44C7-AFE2-E0E39EBE8BE7}" type="pres">
      <dgm:prSet presAssocID="{B3D64F30-DCB3-4549-A73A-4E8FB22D7404}" presName="hierChild5" presStyleCnt="0"/>
      <dgm:spPr/>
    </dgm:pt>
    <dgm:pt modelId="{45A37A0E-CB9B-4C1C-A5D3-A483E068B38B}" type="pres">
      <dgm:prSet presAssocID="{2154B4D4-5D10-42B2-9B3B-08B3B8B07C7B}" presName="Name37" presStyleLbl="parChTrans1D3" presStyleIdx="2" presStyleCnt="7"/>
      <dgm:spPr/>
    </dgm:pt>
    <dgm:pt modelId="{C4EB5B5D-7756-4FBE-941E-904355144CBD}" type="pres">
      <dgm:prSet presAssocID="{29BE7CB2-1918-4D08-9877-647BE3DCCC6F}" presName="hierRoot2" presStyleCnt="0">
        <dgm:presLayoutVars>
          <dgm:hierBranch val="init"/>
        </dgm:presLayoutVars>
      </dgm:prSet>
      <dgm:spPr/>
    </dgm:pt>
    <dgm:pt modelId="{D4C93F87-C787-4B25-8048-B05C8E326DCC}" type="pres">
      <dgm:prSet presAssocID="{29BE7CB2-1918-4D08-9877-647BE3DCCC6F}" presName="rootComposite" presStyleCnt="0"/>
      <dgm:spPr/>
    </dgm:pt>
    <dgm:pt modelId="{F39EC961-8B55-4A2E-B34D-27808DA6420F}" type="pres">
      <dgm:prSet presAssocID="{29BE7CB2-1918-4D08-9877-647BE3DCCC6F}" presName="rootText" presStyleLbl="node3" presStyleIdx="2" presStyleCnt="7">
        <dgm:presLayoutVars>
          <dgm:chPref val="3"/>
        </dgm:presLayoutVars>
      </dgm:prSet>
      <dgm:spPr/>
    </dgm:pt>
    <dgm:pt modelId="{F0EC3753-5E93-4362-B4AC-25438E539F16}" type="pres">
      <dgm:prSet presAssocID="{29BE7CB2-1918-4D08-9877-647BE3DCCC6F}" presName="rootConnector" presStyleLbl="node3" presStyleIdx="2" presStyleCnt="7"/>
      <dgm:spPr/>
    </dgm:pt>
    <dgm:pt modelId="{ADDA5661-9342-4059-B278-16CCD51C9ED8}" type="pres">
      <dgm:prSet presAssocID="{29BE7CB2-1918-4D08-9877-647BE3DCCC6F}" presName="hierChild4" presStyleCnt="0"/>
      <dgm:spPr/>
    </dgm:pt>
    <dgm:pt modelId="{33836361-416C-4418-B700-8C3B230696E8}" type="pres">
      <dgm:prSet presAssocID="{29BE7CB2-1918-4D08-9877-647BE3DCCC6F}" presName="hierChild5" presStyleCnt="0"/>
      <dgm:spPr/>
    </dgm:pt>
    <dgm:pt modelId="{C4AAB2DF-E5EB-40A6-9002-6419D05A2534}" type="pres">
      <dgm:prSet presAssocID="{2EFBE88D-83B4-4AFF-9864-7E1168D9B117}" presName="hierChild5" presStyleCnt="0"/>
      <dgm:spPr/>
    </dgm:pt>
    <dgm:pt modelId="{FF872190-8250-4A4A-B835-AD72D9C8487D}" type="pres">
      <dgm:prSet presAssocID="{307E6BEE-F401-41B0-BC60-DC748931C0F8}" presName="Name37" presStyleLbl="parChTrans1D2" presStyleIdx="1" presStyleCnt="2"/>
      <dgm:spPr/>
    </dgm:pt>
    <dgm:pt modelId="{3F052B76-D334-4B9F-A067-20238DC1A03A}" type="pres">
      <dgm:prSet presAssocID="{BD936F0E-780A-4626-A2D2-DA8328BB123F}" presName="hierRoot2" presStyleCnt="0">
        <dgm:presLayoutVars>
          <dgm:hierBranch/>
        </dgm:presLayoutVars>
      </dgm:prSet>
      <dgm:spPr/>
    </dgm:pt>
    <dgm:pt modelId="{DBA727C6-9DFB-4942-A35F-58CF38197623}" type="pres">
      <dgm:prSet presAssocID="{BD936F0E-780A-4626-A2D2-DA8328BB123F}" presName="rootComposite" presStyleCnt="0"/>
      <dgm:spPr/>
    </dgm:pt>
    <dgm:pt modelId="{5EC2875B-D9CC-4D9B-B035-16173D55F42E}" type="pres">
      <dgm:prSet presAssocID="{BD936F0E-780A-4626-A2D2-DA8328BB123F}" presName="rootText" presStyleLbl="node2" presStyleIdx="1" presStyleCnt="2">
        <dgm:presLayoutVars>
          <dgm:chPref val="3"/>
        </dgm:presLayoutVars>
      </dgm:prSet>
      <dgm:spPr/>
    </dgm:pt>
    <dgm:pt modelId="{2C661922-64E1-461B-85EC-3C5B090B968A}" type="pres">
      <dgm:prSet presAssocID="{BD936F0E-780A-4626-A2D2-DA8328BB123F}" presName="rootConnector" presStyleLbl="node2" presStyleIdx="1" presStyleCnt="2"/>
      <dgm:spPr/>
    </dgm:pt>
    <dgm:pt modelId="{19D89429-45D8-4A06-97C7-5A0236C50973}" type="pres">
      <dgm:prSet presAssocID="{BD936F0E-780A-4626-A2D2-DA8328BB123F}" presName="hierChild4" presStyleCnt="0"/>
      <dgm:spPr/>
    </dgm:pt>
    <dgm:pt modelId="{72582EF1-1794-42F1-8378-D815377931A4}" type="pres">
      <dgm:prSet presAssocID="{02573F40-1BBE-48E9-80E5-754B1A5D99A6}" presName="Name35" presStyleLbl="parChTrans1D3" presStyleIdx="3" presStyleCnt="7"/>
      <dgm:spPr/>
    </dgm:pt>
    <dgm:pt modelId="{F14F8D03-8E20-4730-891B-64B551CA632E}" type="pres">
      <dgm:prSet presAssocID="{8EE3BC46-3809-4A21-8F55-5AEA5FF1F1B7}" presName="hierRoot2" presStyleCnt="0">
        <dgm:presLayoutVars>
          <dgm:hierBranch val="init"/>
        </dgm:presLayoutVars>
      </dgm:prSet>
      <dgm:spPr/>
    </dgm:pt>
    <dgm:pt modelId="{52C4AA99-4CB2-4033-8D29-8494B1550917}" type="pres">
      <dgm:prSet presAssocID="{8EE3BC46-3809-4A21-8F55-5AEA5FF1F1B7}" presName="rootComposite" presStyleCnt="0"/>
      <dgm:spPr/>
    </dgm:pt>
    <dgm:pt modelId="{326C290B-2F11-4486-B5C3-E306AD24B67F}" type="pres">
      <dgm:prSet presAssocID="{8EE3BC46-3809-4A21-8F55-5AEA5FF1F1B7}" presName="rootText" presStyleLbl="node3" presStyleIdx="3" presStyleCnt="7">
        <dgm:presLayoutVars>
          <dgm:chPref val="3"/>
        </dgm:presLayoutVars>
      </dgm:prSet>
      <dgm:spPr>
        <a:xfrm>
          <a:off x="4336245" y="2413469"/>
          <a:ext cx="1433214" cy="716607"/>
        </a:xfrm>
        <a:prstGeom prst="rect">
          <a:avLst/>
        </a:prstGeom>
      </dgm:spPr>
    </dgm:pt>
    <dgm:pt modelId="{6D35F656-7DC9-4077-98E9-A502B434F51A}" type="pres">
      <dgm:prSet presAssocID="{8EE3BC46-3809-4A21-8F55-5AEA5FF1F1B7}" presName="rootConnector" presStyleLbl="node3" presStyleIdx="3" presStyleCnt="7"/>
      <dgm:spPr/>
    </dgm:pt>
    <dgm:pt modelId="{4950517C-9459-467E-B65E-1C6557BA0758}" type="pres">
      <dgm:prSet presAssocID="{8EE3BC46-3809-4A21-8F55-5AEA5FF1F1B7}" presName="hierChild4" presStyleCnt="0"/>
      <dgm:spPr/>
    </dgm:pt>
    <dgm:pt modelId="{2ACF6CF3-341B-417B-8885-7CA698877DEA}" type="pres">
      <dgm:prSet presAssocID="{8EE3BC46-3809-4A21-8F55-5AEA5FF1F1B7}" presName="hierChild5" presStyleCnt="0"/>
      <dgm:spPr/>
    </dgm:pt>
    <dgm:pt modelId="{C7B73C34-F600-48C1-A19F-9D2B46510881}" type="pres">
      <dgm:prSet presAssocID="{FDB97557-76D6-420E-83FC-39F0936F00A2}" presName="Name35" presStyleLbl="parChTrans1D3" presStyleIdx="4" presStyleCnt="7"/>
      <dgm:spPr/>
    </dgm:pt>
    <dgm:pt modelId="{429CCAF3-F749-43C6-82F9-0F646B6E3170}" type="pres">
      <dgm:prSet presAssocID="{55AD0F5C-9BD1-4734-B1C0-CE228204C142}" presName="hierRoot2" presStyleCnt="0">
        <dgm:presLayoutVars>
          <dgm:hierBranch val="init"/>
        </dgm:presLayoutVars>
      </dgm:prSet>
      <dgm:spPr/>
    </dgm:pt>
    <dgm:pt modelId="{C861329C-FA17-4CB8-97CE-FD153EC44187}" type="pres">
      <dgm:prSet presAssocID="{55AD0F5C-9BD1-4734-B1C0-CE228204C142}" presName="rootComposite" presStyleCnt="0"/>
      <dgm:spPr/>
    </dgm:pt>
    <dgm:pt modelId="{1C76FE37-751C-41E4-B420-8D8975026EA4}" type="pres">
      <dgm:prSet presAssocID="{55AD0F5C-9BD1-4734-B1C0-CE228204C142}" presName="rootText" presStyleLbl="node3" presStyleIdx="4" presStyleCnt="7" custScaleX="112408" custLinFactNeighborX="-3620" custLinFactNeighborY="-4858">
        <dgm:presLayoutVars>
          <dgm:chPref val="3"/>
        </dgm:presLayoutVars>
      </dgm:prSet>
      <dgm:spPr>
        <a:xfrm>
          <a:off x="6070435" y="2413469"/>
          <a:ext cx="1433214" cy="716607"/>
        </a:xfrm>
        <a:prstGeom prst="rect">
          <a:avLst/>
        </a:prstGeom>
      </dgm:spPr>
    </dgm:pt>
    <dgm:pt modelId="{895ABED2-8545-4F06-9ACB-AB57AAF278F1}" type="pres">
      <dgm:prSet presAssocID="{55AD0F5C-9BD1-4734-B1C0-CE228204C142}" presName="rootConnector" presStyleLbl="node3" presStyleIdx="4" presStyleCnt="7"/>
      <dgm:spPr/>
    </dgm:pt>
    <dgm:pt modelId="{4922E355-BF7F-41D2-80F9-048C04C7F4C7}" type="pres">
      <dgm:prSet presAssocID="{55AD0F5C-9BD1-4734-B1C0-CE228204C142}" presName="hierChild4" presStyleCnt="0"/>
      <dgm:spPr/>
    </dgm:pt>
    <dgm:pt modelId="{47DF9AA6-115D-490C-B6CF-7D4B57E9A404}" type="pres">
      <dgm:prSet presAssocID="{55AD0F5C-9BD1-4734-B1C0-CE228204C142}" presName="hierChild5" presStyleCnt="0"/>
      <dgm:spPr/>
    </dgm:pt>
    <dgm:pt modelId="{E424D290-0E8D-484C-BB88-96750904C767}" type="pres">
      <dgm:prSet presAssocID="{CB83CBC1-E62C-48A6-8DED-175A1D50AEAC}" presName="Name35" presStyleLbl="parChTrans1D3" presStyleIdx="5" presStyleCnt="7"/>
      <dgm:spPr/>
    </dgm:pt>
    <dgm:pt modelId="{2C15E747-285B-4384-97B2-367A8E73DDD8}" type="pres">
      <dgm:prSet presAssocID="{BC7327BB-3DA5-4777-A610-43C373998F28}" presName="hierRoot2" presStyleCnt="0">
        <dgm:presLayoutVars>
          <dgm:hierBranch val="init"/>
        </dgm:presLayoutVars>
      </dgm:prSet>
      <dgm:spPr/>
    </dgm:pt>
    <dgm:pt modelId="{801C6F8B-D1E1-4D63-8A9F-88C2F1076652}" type="pres">
      <dgm:prSet presAssocID="{BC7327BB-3DA5-4777-A610-43C373998F28}" presName="rootComposite" presStyleCnt="0"/>
      <dgm:spPr/>
    </dgm:pt>
    <dgm:pt modelId="{46CCEBD5-935A-4AF9-B3E0-934FD6ECE5D7}" type="pres">
      <dgm:prSet presAssocID="{BC7327BB-3DA5-4777-A610-43C373998F28}" presName="rootText" presStyleLbl="node3" presStyleIdx="5" presStyleCnt="7" custScaleX="109948">
        <dgm:presLayoutVars>
          <dgm:chPref val="3"/>
        </dgm:presLayoutVars>
      </dgm:prSet>
      <dgm:spPr>
        <a:xfrm>
          <a:off x="7804625" y="2413469"/>
          <a:ext cx="1433214" cy="716607"/>
        </a:xfrm>
        <a:prstGeom prst="rect">
          <a:avLst/>
        </a:prstGeom>
      </dgm:spPr>
    </dgm:pt>
    <dgm:pt modelId="{6708710A-D302-478F-8AE7-EB495BF52E75}" type="pres">
      <dgm:prSet presAssocID="{BC7327BB-3DA5-4777-A610-43C373998F28}" presName="rootConnector" presStyleLbl="node3" presStyleIdx="5" presStyleCnt="7"/>
      <dgm:spPr/>
    </dgm:pt>
    <dgm:pt modelId="{FA929ADE-EDE3-49CE-9EE0-5F1D9C9D1ECC}" type="pres">
      <dgm:prSet presAssocID="{BC7327BB-3DA5-4777-A610-43C373998F28}" presName="hierChild4" presStyleCnt="0"/>
      <dgm:spPr/>
    </dgm:pt>
    <dgm:pt modelId="{255F6D75-51AF-451E-819E-CDDF6ACE2DFD}" type="pres">
      <dgm:prSet presAssocID="{BC7327BB-3DA5-4777-A610-43C373998F28}" presName="hierChild5" presStyleCnt="0"/>
      <dgm:spPr/>
    </dgm:pt>
    <dgm:pt modelId="{5D97F4B6-5770-41EC-95AE-4BC25AF25D8D}" type="pres">
      <dgm:prSet presAssocID="{31255BDC-2DDA-4C02-AF9D-2307A4356A0C}" presName="Name35" presStyleLbl="parChTrans1D3" presStyleIdx="6" presStyleCnt="7"/>
      <dgm:spPr/>
    </dgm:pt>
    <dgm:pt modelId="{579F0ED3-47A2-4D94-860C-C2B8E7C3C894}" type="pres">
      <dgm:prSet presAssocID="{AC658E31-21DE-4F22-8275-4FEAD497F336}" presName="hierRoot2" presStyleCnt="0">
        <dgm:presLayoutVars>
          <dgm:hierBranch val="init"/>
        </dgm:presLayoutVars>
      </dgm:prSet>
      <dgm:spPr/>
    </dgm:pt>
    <dgm:pt modelId="{22B49CF5-C20E-4217-8854-3C06BE6659A9}" type="pres">
      <dgm:prSet presAssocID="{AC658E31-21DE-4F22-8275-4FEAD497F336}" presName="rootComposite" presStyleCnt="0"/>
      <dgm:spPr/>
    </dgm:pt>
    <dgm:pt modelId="{358A5EF5-CC11-42EE-9050-C151AE37BE17}" type="pres">
      <dgm:prSet presAssocID="{AC658E31-21DE-4F22-8275-4FEAD497F336}" presName="rootText" presStyleLbl="node3" presStyleIdx="6" presStyleCnt="7">
        <dgm:presLayoutVars>
          <dgm:chPref val="3"/>
        </dgm:presLayoutVars>
      </dgm:prSet>
      <dgm:spPr/>
    </dgm:pt>
    <dgm:pt modelId="{6D3A1796-26FB-4A6A-A4B8-484C9FEAC118}" type="pres">
      <dgm:prSet presAssocID="{AC658E31-21DE-4F22-8275-4FEAD497F336}" presName="rootConnector" presStyleLbl="node3" presStyleIdx="6" presStyleCnt="7"/>
      <dgm:spPr/>
    </dgm:pt>
    <dgm:pt modelId="{AB33D75D-FB10-4C6E-A236-7CF1705B6C39}" type="pres">
      <dgm:prSet presAssocID="{AC658E31-21DE-4F22-8275-4FEAD497F336}" presName="hierChild4" presStyleCnt="0"/>
      <dgm:spPr/>
    </dgm:pt>
    <dgm:pt modelId="{5B26CDE3-2889-48BE-AD49-E77A9150053F}" type="pres">
      <dgm:prSet presAssocID="{AC658E31-21DE-4F22-8275-4FEAD497F336}" presName="hierChild5" presStyleCnt="0"/>
      <dgm:spPr/>
    </dgm:pt>
    <dgm:pt modelId="{EAB6CC06-CD6D-474B-A74A-1C0F757B4616}" type="pres">
      <dgm:prSet presAssocID="{BD936F0E-780A-4626-A2D2-DA8328BB123F}" presName="hierChild5" presStyleCnt="0"/>
      <dgm:spPr/>
    </dgm:pt>
    <dgm:pt modelId="{C8841982-EBEF-4EAC-BE07-6ABA9CE70634}" type="pres">
      <dgm:prSet presAssocID="{909C49BD-0010-4BC0-B898-07EE6B161454}" presName="hierChild3" presStyleCnt="0"/>
      <dgm:spPr/>
    </dgm:pt>
  </dgm:ptLst>
  <dgm:cxnLst>
    <dgm:cxn modelId="{DE6B7B03-C3FA-4ADF-9B34-002F1791EB9B}" type="presOf" srcId="{AC658E31-21DE-4F22-8275-4FEAD497F336}" destId="{6D3A1796-26FB-4A6A-A4B8-484C9FEAC118}" srcOrd="1" destOrd="0" presId="urn:microsoft.com/office/officeart/2005/8/layout/orgChart1"/>
    <dgm:cxn modelId="{C09CB503-619A-4B41-A8C0-7C3B3AD6D0DF}" srcId="{909C49BD-0010-4BC0-B898-07EE6B161454}" destId="{2EFBE88D-83B4-4AFF-9864-7E1168D9B117}" srcOrd="0" destOrd="0" parTransId="{C6E30F49-0865-4BAD-8DF1-A33084B5D19F}" sibTransId="{ABCEF8F5-B0FC-40A4-9D9F-6990234D9064}"/>
    <dgm:cxn modelId="{8AFFB406-E229-45C1-B04C-8C82FB96293B}" type="presOf" srcId="{137CBA56-A3BD-447D-AD51-1D4F922C3BE4}" destId="{073D5C44-56AB-4442-8871-9F53CCDBE63B}" srcOrd="1" destOrd="0" presId="urn:microsoft.com/office/officeart/2005/8/layout/orgChart1"/>
    <dgm:cxn modelId="{21FC5408-770A-4FB5-A1D6-7D1074476811}" type="presOf" srcId="{909C49BD-0010-4BC0-B898-07EE6B161454}" destId="{84C8C806-A7ED-460E-BCB1-5E60996D7DE1}" srcOrd="1" destOrd="0" presId="urn:microsoft.com/office/officeart/2005/8/layout/orgChart1"/>
    <dgm:cxn modelId="{D9594E0A-1A43-4EFE-B1F3-4E044BA98B4B}" type="presOf" srcId="{909C49BD-0010-4BC0-B898-07EE6B161454}" destId="{6B86BB4E-18D7-4B22-A733-15A96D72073C}" srcOrd="0" destOrd="0" presId="urn:microsoft.com/office/officeart/2005/8/layout/orgChart1"/>
    <dgm:cxn modelId="{03209611-BB40-4ED2-BE3C-C76B9077D856}" type="presOf" srcId="{02573F40-1BBE-48E9-80E5-754B1A5D99A6}" destId="{72582EF1-1794-42F1-8378-D815377931A4}" srcOrd="0" destOrd="0" presId="urn:microsoft.com/office/officeart/2005/8/layout/orgChart1"/>
    <dgm:cxn modelId="{DEE9B911-024A-4505-8B02-16782EC8D80A}" type="presOf" srcId="{BC7327BB-3DA5-4777-A610-43C373998F28}" destId="{46CCEBD5-935A-4AF9-B3E0-934FD6ECE5D7}" srcOrd="0" destOrd="0" presId="urn:microsoft.com/office/officeart/2005/8/layout/orgChart1"/>
    <dgm:cxn modelId="{5B8C1E14-CF2F-466F-B74A-D712BFF9E0AA}" type="presOf" srcId="{2EFBE88D-83B4-4AFF-9864-7E1168D9B117}" destId="{F9B7DFFC-A32D-4B47-87D5-C92CE687886D}" srcOrd="0" destOrd="0" presId="urn:microsoft.com/office/officeart/2005/8/layout/orgChart1"/>
    <dgm:cxn modelId="{5DBB6719-4A43-498C-90EF-B81FECCE41C6}" type="presOf" srcId="{0647963A-8F6A-4991-988A-FA9FE52C7B16}" destId="{ABA78210-17DE-4EC9-B76C-686AE15AE520}" srcOrd="0" destOrd="0" presId="urn:microsoft.com/office/officeart/2005/8/layout/orgChart1"/>
    <dgm:cxn modelId="{C22DD01B-FA59-4A31-A969-2EB93EE77959}" type="presOf" srcId="{BD936F0E-780A-4626-A2D2-DA8328BB123F}" destId="{2C661922-64E1-461B-85EC-3C5B090B968A}" srcOrd="1" destOrd="0" presId="urn:microsoft.com/office/officeart/2005/8/layout/orgChart1"/>
    <dgm:cxn modelId="{D5067923-4C0B-42FB-AFEA-283F913FEE27}" srcId="{137CBA56-A3BD-447D-AD51-1D4F922C3BE4}" destId="{A230BDFB-FCBE-4F64-BD1E-704483798B0C}" srcOrd="0" destOrd="0" parTransId="{4166C7AD-9507-49AD-A82F-92DE0694A31A}" sibTransId="{473F3EBA-2E84-41E5-B0E5-10CFE6A13000}"/>
    <dgm:cxn modelId="{BB53482B-BB14-40FB-A2CF-DA2993686CB0}" type="presOf" srcId="{4166C7AD-9507-49AD-A82F-92DE0694A31A}" destId="{F2372B3B-81EA-45FF-BC8E-0AF028310E56}" srcOrd="0" destOrd="0" presId="urn:microsoft.com/office/officeart/2005/8/layout/orgChart1"/>
    <dgm:cxn modelId="{1F625C2E-E57D-4F54-AF78-087D4905D2FD}" srcId="{BD936F0E-780A-4626-A2D2-DA8328BB123F}" destId="{BC7327BB-3DA5-4777-A610-43C373998F28}" srcOrd="2" destOrd="0" parTransId="{CB83CBC1-E62C-48A6-8DED-175A1D50AEAC}" sibTransId="{E6E8737F-1823-4884-BD64-B193696DDE74}"/>
    <dgm:cxn modelId="{94D13D31-4E69-42C3-BF4D-A35C51997084}" type="presOf" srcId="{55AD0F5C-9BD1-4734-B1C0-CE228204C142}" destId="{895ABED2-8545-4F06-9ACB-AB57AAF278F1}" srcOrd="1" destOrd="0" presId="urn:microsoft.com/office/officeart/2005/8/layout/orgChart1"/>
    <dgm:cxn modelId="{0DD64535-983B-47A9-9D39-440DE490C0BE}" srcId="{BD936F0E-780A-4626-A2D2-DA8328BB123F}" destId="{AC658E31-21DE-4F22-8275-4FEAD497F336}" srcOrd="3" destOrd="0" parTransId="{31255BDC-2DDA-4C02-AF9D-2307A4356A0C}" sibTransId="{21C8A0FE-098E-40F1-93DF-EF3B1A4FCFC8}"/>
    <dgm:cxn modelId="{98BE4C3B-345B-40BC-B915-4AB9F1B0B30A}" type="presOf" srcId="{CB83CBC1-E62C-48A6-8DED-175A1D50AEAC}" destId="{E424D290-0E8D-484C-BB88-96750904C767}" srcOrd="0" destOrd="0" presId="urn:microsoft.com/office/officeart/2005/8/layout/orgChart1"/>
    <dgm:cxn modelId="{C4A9E33F-6316-414A-83F5-820F0586E924}" type="presOf" srcId="{A230BDFB-FCBE-4F64-BD1E-704483798B0C}" destId="{282EE7F2-F65E-48AE-8E83-71D6AAD78CD5}" srcOrd="1" destOrd="0" presId="urn:microsoft.com/office/officeart/2005/8/layout/orgChart1"/>
    <dgm:cxn modelId="{1031E35D-357E-42C3-BCA3-684B1B23C2AF}" type="presOf" srcId="{2154B4D4-5D10-42B2-9B3B-08B3B8B07C7B}" destId="{45A37A0E-CB9B-4C1C-A5D3-A483E068B38B}" srcOrd="0" destOrd="0" presId="urn:microsoft.com/office/officeart/2005/8/layout/orgChart1"/>
    <dgm:cxn modelId="{EB433643-77BB-4D82-BC65-FDB7F6C59B88}" type="presOf" srcId="{137CBA56-A3BD-447D-AD51-1D4F922C3BE4}" destId="{6A48EDA1-54B9-4A53-9A30-A07989C11C0E}" srcOrd="0" destOrd="0" presId="urn:microsoft.com/office/officeart/2005/8/layout/orgChart1"/>
    <dgm:cxn modelId="{5045E364-581E-4770-AC57-45FE3558A0A4}" srcId="{BD936F0E-780A-4626-A2D2-DA8328BB123F}" destId="{8EE3BC46-3809-4A21-8F55-5AEA5FF1F1B7}" srcOrd="0" destOrd="0" parTransId="{02573F40-1BBE-48E9-80E5-754B1A5D99A6}" sibTransId="{30299F86-A360-4B88-B5D7-56E881E314F3}"/>
    <dgm:cxn modelId="{2555C566-65F9-42ED-B3D1-9993FAE59C34}" type="presOf" srcId="{55AD0F5C-9BD1-4734-B1C0-CE228204C142}" destId="{1C76FE37-751C-41E4-B420-8D8975026EA4}" srcOrd="0" destOrd="0" presId="urn:microsoft.com/office/officeart/2005/8/layout/orgChart1"/>
    <dgm:cxn modelId="{88EC6C48-78D7-4EB3-9DB5-F82C632289E5}" type="presOf" srcId="{A230BDFB-FCBE-4F64-BD1E-704483798B0C}" destId="{36E12490-BB68-4D0F-B1B6-5A559ACF3B72}" srcOrd="0" destOrd="0" presId="urn:microsoft.com/office/officeart/2005/8/layout/orgChart1"/>
    <dgm:cxn modelId="{DF0A7B4F-4E05-45A2-8E07-F059E1B62EAC}" type="presOf" srcId="{BC7327BB-3DA5-4777-A610-43C373998F28}" destId="{6708710A-D302-478F-8AE7-EB495BF52E75}" srcOrd="1" destOrd="0" presId="urn:microsoft.com/office/officeart/2005/8/layout/orgChart1"/>
    <dgm:cxn modelId="{9C4C0750-7B62-472A-B6F0-2FC9F3CE0CF5}" type="presOf" srcId="{29BE7CB2-1918-4D08-9877-647BE3DCCC6F}" destId="{F39EC961-8B55-4A2E-B34D-27808DA6420F}" srcOrd="0" destOrd="0" presId="urn:microsoft.com/office/officeart/2005/8/layout/orgChart1"/>
    <dgm:cxn modelId="{87890A56-F3C9-4642-A9B9-6E829D7CAD35}" type="presOf" srcId="{8EE3BC46-3809-4A21-8F55-5AEA5FF1F1B7}" destId="{6D35F656-7DC9-4077-98E9-A502B434F51A}" srcOrd="1" destOrd="0" presId="urn:microsoft.com/office/officeart/2005/8/layout/orgChart1"/>
    <dgm:cxn modelId="{5455A277-9A74-4238-AFA2-33454440E14C}" type="presOf" srcId="{1E579A31-1D89-4237-A8DD-EE704B86574A}" destId="{384350DA-6A9E-4698-BE3D-F1287F1FEDA1}" srcOrd="0" destOrd="0" presId="urn:microsoft.com/office/officeart/2005/8/layout/orgChart1"/>
    <dgm:cxn modelId="{B252877D-8504-48DC-B2A1-345EC04108B8}" type="presOf" srcId="{B3D64F30-DCB3-4549-A73A-4E8FB22D7404}" destId="{800F0796-91F7-4FC7-B61B-F438578AA8BF}" srcOrd="0" destOrd="0" presId="urn:microsoft.com/office/officeart/2005/8/layout/orgChart1"/>
    <dgm:cxn modelId="{FD241D8F-0BDE-4EBE-A012-84BB65312C0A}" srcId="{1E579A31-1D89-4237-A8DD-EE704B86574A}" destId="{909C49BD-0010-4BC0-B898-07EE6B161454}" srcOrd="0" destOrd="0" parTransId="{989E29AA-1946-4861-8F53-78F2C899E569}" sibTransId="{2E3F73FD-D747-4C5B-BF1D-0D275BC78717}"/>
    <dgm:cxn modelId="{B1074195-A1AB-43A3-87C2-71E992B14724}" type="presOf" srcId="{307E6BEE-F401-41B0-BC60-DC748931C0F8}" destId="{FF872190-8250-4A4A-B835-AD72D9C8487D}" srcOrd="0" destOrd="0" presId="urn:microsoft.com/office/officeart/2005/8/layout/orgChart1"/>
    <dgm:cxn modelId="{5B466796-6F50-48D8-9809-A708D729662B}" srcId="{2EFBE88D-83B4-4AFF-9864-7E1168D9B117}" destId="{137CBA56-A3BD-447D-AD51-1D4F922C3BE4}" srcOrd="0" destOrd="0" parTransId="{0647963A-8F6A-4991-988A-FA9FE52C7B16}" sibTransId="{E0007C65-96F8-4C2F-82B1-72F924EC7F78}"/>
    <dgm:cxn modelId="{C577E196-ED5D-4A36-A981-BC433BB65F20}" srcId="{2EFBE88D-83B4-4AFF-9864-7E1168D9B117}" destId="{29BE7CB2-1918-4D08-9877-647BE3DCCC6F}" srcOrd="2" destOrd="0" parTransId="{2154B4D4-5D10-42B2-9B3B-08B3B8B07C7B}" sibTransId="{4E50E772-F5D0-4C6E-8419-664A835EE66C}"/>
    <dgm:cxn modelId="{834F6F9B-DEE4-48F4-A1DE-CC95A9B286B3}" srcId="{BD936F0E-780A-4626-A2D2-DA8328BB123F}" destId="{55AD0F5C-9BD1-4734-B1C0-CE228204C142}" srcOrd="1" destOrd="0" parTransId="{FDB97557-76D6-420E-83FC-39F0936F00A2}" sibTransId="{46E3F067-3469-4E36-ABBB-2E1B2AFA4890}"/>
    <dgm:cxn modelId="{C71375A7-3D30-482F-BFA1-26E7B2679BF9}" type="presOf" srcId="{BD936F0E-780A-4626-A2D2-DA8328BB123F}" destId="{5EC2875B-D9CC-4D9B-B035-16173D55F42E}" srcOrd="0" destOrd="0" presId="urn:microsoft.com/office/officeart/2005/8/layout/orgChart1"/>
    <dgm:cxn modelId="{7845DFA8-530B-415C-8EE0-623AD5C13DFC}" type="presOf" srcId="{29BE7CB2-1918-4D08-9877-647BE3DCCC6F}" destId="{F0EC3753-5E93-4362-B4AC-25438E539F16}" srcOrd="1" destOrd="0" presId="urn:microsoft.com/office/officeart/2005/8/layout/orgChart1"/>
    <dgm:cxn modelId="{E9AE31A9-8DCC-42E5-8ACF-8E2F2D7B5B45}" srcId="{909C49BD-0010-4BC0-B898-07EE6B161454}" destId="{BD936F0E-780A-4626-A2D2-DA8328BB123F}" srcOrd="1" destOrd="0" parTransId="{307E6BEE-F401-41B0-BC60-DC748931C0F8}" sibTransId="{03309E84-CA50-49C8-9648-DCCD5331860D}"/>
    <dgm:cxn modelId="{D40078AC-E51B-4144-80D4-2EFD51C12BBC}" type="presOf" srcId="{FDB97557-76D6-420E-83FC-39F0936F00A2}" destId="{C7B73C34-F600-48C1-A19F-9D2B46510881}" srcOrd="0" destOrd="0" presId="urn:microsoft.com/office/officeart/2005/8/layout/orgChart1"/>
    <dgm:cxn modelId="{7E42E4B4-3156-4DEF-951F-E93C0EBE6E0E}" type="presOf" srcId="{AC658E31-21DE-4F22-8275-4FEAD497F336}" destId="{358A5EF5-CC11-42EE-9050-C151AE37BE17}" srcOrd="0" destOrd="0" presId="urn:microsoft.com/office/officeart/2005/8/layout/orgChart1"/>
    <dgm:cxn modelId="{58FA08CF-CC97-4F29-B206-92183E617988}" type="presOf" srcId="{8400348D-63E9-41CD-B061-E6FD645361AF}" destId="{97EB759A-E60E-4A01-8C97-867521477CAC}" srcOrd="0" destOrd="0" presId="urn:microsoft.com/office/officeart/2005/8/layout/orgChart1"/>
    <dgm:cxn modelId="{539FB9DA-DC53-447C-955A-659BB0CAA336}" type="presOf" srcId="{31255BDC-2DDA-4C02-AF9D-2307A4356A0C}" destId="{5D97F4B6-5770-41EC-95AE-4BC25AF25D8D}" srcOrd="0" destOrd="0" presId="urn:microsoft.com/office/officeart/2005/8/layout/orgChart1"/>
    <dgm:cxn modelId="{CC6145DD-D521-4072-ABE9-2F2687087714}" type="presOf" srcId="{8EE3BC46-3809-4A21-8F55-5AEA5FF1F1B7}" destId="{326C290B-2F11-4486-B5C3-E306AD24B67F}" srcOrd="0" destOrd="0" presId="urn:microsoft.com/office/officeart/2005/8/layout/orgChart1"/>
    <dgm:cxn modelId="{F4166BDF-8B74-4BE0-96A9-838ABDB49B40}" type="presOf" srcId="{B3D64F30-DCB3-4549-A73A-4E8FB22D7404}" destId="{23AA27F3-8269-4CBD-9DD2-EA1CC9B65EFF}" srcOrd="1" destOrd="0" presId="urn:microsoft.com/office/officeart/2005/8/layout/orgChart1"/>
    <dgm:cxn modelId="{E883D0E7-C552-42F6-B91E-2C37EA2B8BF2}" srcId="{2EFBE88D-83B4-4AFF-9864-7E1168D9B117}" destId="{B3D64F30-DCB3-4549-A73A-4E8FB22D7404}" srcOrd="1" destOrd="0" parTransId="{8400348D-63E9-41CD-B061-E6FD645361AF}" sibTransId="{CED31DCE-B953-4787-9B95-4894F1480F0C}"/>
    <dgm:cxn modelId="{75575FF7-8E22-4A3B-AE28-5404BC7CC203}" type="presOf" srcId="{2EFBE88D-83B4-4AFF-9864-7E1168D9B117}" destId="{54480127-6449-453C-8B10-895EC2BB35CA}" srcOrd="1" destOrd="0" presId="urn:microsoft.com/office/officeart/2005/8/layout/orgChart1"/>
    <dgm:cxn modelId="{C60E12FD-F498-4E0A-832E-FE2EF5E29C3F}" type="presOf" srcId="{C6E30F49-0865-4BAD-8DF1-A33084B5D19F}" destId="{D02283BA-7E39-4402-AF13-C9E0F3319303}" srcOrd="0" destOrd="0" presId="urn:microsoft.com/office/officeart/2005/8/layout/orgChart1"/>
    <dgm:cxn modelId="{F62B06AF-D8AD-4700-9EDF-4F9BA143EE21}" type="presParOf" srcId="{384350DA-6A9E-4698-BE3D-F1287F1FEDA1}" destId="{5F320907-9ADC-4EBF-946F-55701AEB9365}" srcOrd="0" destOrd="0" presId="urn:microsoft.com/office/officeart/2005/8/layout/orgChart1"/>
    <dgm:cxn modelId="{EFB52041-AF57-4A58-BAA0-74BB4B57E7AD}" type="presParOf" srcId="{5F320907-9ADC-4EBF-946F-55701AEB9365}" destId="{04BACF31-F6F5-47F8-9246-0D9F3DC559C6}" srcOrd="0" destOrd="0" presId="urn:microsoft.com/office/officeart/2005/8/layout/orgChart1"/>
    <dgm:cxn modelId="{2B9D3FF7-A16A-4DA7-9A97-067BB917E7EA}" type="presParOf" srcId="{04BACF31-F6F5-47F8-9246-0D9F3DC559C6}" destId="{6B86BB4E-18D7-4B22-A733-15A96D72073C}" srcOrd="0" destOrd="0" presId="urn:microsoft.com/office/officeart/2005/8/layout/orgChart1"/>
    <dgm:cxn modelId="{E4451325-D8B9-4230-B06A-E7460CEF1291}" type="presParOf" srcId="{04BACF31-F6F5-47F8-9246-0D9F3DC559C6}" destId="{84C8C806-A7ED-460E-BCB1-5E60996D7DE1}" srcOrd="1" destOrd="0" presId="urn:microsoft.com/office/officeart/2005/8/layout/orgChart1"/>
    <dgm:cxn modelId="{108AA24B-42D0-4CD3-BE6B-1E61E83028EE}" type="presParOf" srcId="{5F320907-9ADC-4EBF-946F-55701AEB9365}" destId="{16373CE9-B73C-40E1-A886-518EB8FFF268}" srcOrd="1" destOrd="0" presId="urn:microsoft.com/office/officeart/2005/8/layout/orgChart1"/>
    <dgm:cxn modelId="{BC8D267C-64CA-4E62-BAF5-6E97EE2074D4}" type="presParOf" srcId="{16373CE9-B73C-40E1-A886-518EB8FFF268}" destId="{D02283BA-7E39-4402-AF13-C9E0F3319303}" srcOrd="0" destOrd="0" presId="urn:microsoft.com/office/officeart/2005/8/layout/orgChart1"/>
    <dgm:cxn modelId="{7D4A002A-2DBE-415D-850C-7C9DF3E27800}" type="presParOf" srcId="{16373CE9-B73C-40E1-A886-518EB8FFF268}" destId="{B9FF96C7-9AA9-41A1-A8C0-B7D3C25D6501}" srcOrd="1" destOrd="0" presId="urn:microsoft.com/office/officeart/2005/8/layout/orgChart1"/>
    <dgm:cxn modelId="{255798EC-6151-49A1-9B72-67B78F9069B2}" type="presParOf" srcId="{B9FF96C7-9AA9-41A1-A8C0-B7D3C25D6501}" destId="{2CC2FCE2-394B-4F1E-954B-D32B0865C81A}" srcOrd="0" destOrd="0" presId="urn:microsoft.com/office/officeart/2005/8/layout/orgChart1"/>
    <dgm:cxn modelId="{1531D47A-EF7E-441F-81BF-72097D85407D}" type="presParOf" srcId="{2CC2FCE2-394B-4F1E-954B-D32B0865C81A}" destId="{F9B7DFFC-A32D-4B47-87D5-C92CE687886D}" srcOrd="0" destOrd="0" presId="urn:microsoft.com/office/officeart/2005/8/layout/orgChart1"/>
    <dgm:cxn modelId="{E28FE00B-9DCF-4B53-97E1-59C4BFE07612}" type="presParOf" srcId="{2CC2FCE2-394B-4F1E-954B-D32B0865C81A}" destId="{54480127-6449-453C-8B10-895EC2BB35CA}" srcOrd="1" destOrd="0" presId="urn:microsoft.com/office/officeart/2005/8/layout/orgChart1"/>
    <dgm:cxn modelId="{F788AC5F-C04C-4160-AF6F-8BC631DCAA90}" type="presParOf" srcId="{B9FF96C7-9AA9-41A1-A8C0-B7D3C25D6501}" destId="{9EC4D292-AE6F-4DD5-85F9-0F1A2BE70ABA}" srcOrd="1" destOrd="0" presId="urn:microsoft.com/office/officeart/2005/8/layout/orgChart1"/>
    <dgm:cxn modelId="{D64F8463-972B-4DB9-80D7-4CE073D103D6}" type="presParOf" srcId="{9EC4D292-AE6F-4DD5-85F9-0F1A2BE70ABA}" destId="{ABA78210-17DE-4EC9-B76C-686AE15AE520}" srcOrd="0" destOrd="0" presId="urn:microsoft.com/office/officeart/2005/8/layout/orgChart1"/>
    <dgm:cxn modelId="{0B8E039D-F29E-4747-A2D1-6F03155CBBCD}" type="presParOf" srcId="{9EC4D292-AE6F-4DD5-85F9-0F1A2BE70ABA}" destId="{89C3D2EE-5AFB-4920-B315-E58CD71A2913}" srcOrd="1" destOrd="0" presId="urn:microsoft.com/office/officeart/2005/8/layout/orgChart1"/>
    <dgm:cxn modelId="{5EF27A66-0B8E-4FF1-ABD0-669518EDD571}" type="presParOf" srcId="{89C3D2EE-5AFB-4920-B315-E58CD71A2913}" destId="{F11AECAB-6278-429E-9438-D4E073712F41}" srcOrd="0" destOrd="0" presId="urn:microsoft.com/office/officeart/2005/8/layout/orgChart1"/>
    <dgm:cxn modelId="{56AA17BD-0A34-479D-8220-F40BA8A47B13}" type="presParOf" srcId="{F11AECAB-6278-429E-9438-D4E073712F41}" destId="{6A48EDA1-54B9-4A53-9A30-A07989C11C0E}" srcOrd="0" destOrd="0" presId="urn:microsoft.com/office/officeart/2005/8/layout/orgChart1"/>
    <dgm:cxn modelId="{FB055375-F6CC-41BA-936D-1F817126FE2F}" type="presParOf" srcId="{F11AECAB-6278-429E-9438-D4E073712F41}" destId="{073D5C44-56AB-4442-8871-9F53CCDBE63B}" srcOrd="1" destOrd="0" presId="urn:microsoft.com/office/officeart/2005/8/layout/orgChart1"/>
    <dgm:cxn modelId="{E43CAA8C-F933-49BB-BC72-2095ECF396DA}" type="presParOf" srcId="{89C3D2EE-5AFB-4920-B315-E58CD71A2913}" destId="{138700AB-932E-4244-A4A4-39F896509EE0}" srcOrd="1" destOrd="0" presId="urn:microsoft.com/office/officeart/2005/8/layout/orgChart1"/>
    <dgm:cxn modelId="{F8C0CD90-CA87-4AA9-9128-AF6D1D061AC2}" type="presParOf" srcId="{138700AB-932E-4244-A4A4-39F896509EE0}" destId="{F2372B3B-81EA-45FF-BC8E-0AF028310E56}" srcOrd="0" destOrd="0" presId="urn:microsoft.com/office/officeart/2005/8/layout/orgChart1"/>
    <dgm:cxn modelId="{2FA3773E-ED4B-46DE-878B-5FAF1CEC0F2A}" type="presParOf" srcId="{138700AB-932E-4244-A4A4-39F896509EE0}" destId="{8348AAAE-9DC9-40AA-A443-923413FBFF05}" srcOrd="1" destOrd="0" presId="urn:microsoft.com/office/officeart/2005/8/layout/orgChart1"/>
    <dgm:cxn modelId="{360FC754-067A-4503-889F-1A64237CC8D3}" type="presParOf" srcId="{8348AAAE-9DC9-40AA-A443-923413FBFF05}" destId="{760056DA-B5C8-4764-97EC-858D8B07859F}" srcOrd="0" destOrd="0" presId="urn:microsoft.com/office/officeart/2005/8/layout/orgChart1"/>
    <dgm:cxn modelId="{D216C090-3619-4B9B-BEDF-26484E9AAF46}" type="presParOf" srcId="{760056DA-B5C8-4764-97EC-858D8B07859F}" destId="{36E12490-BB68-4D0F-B1B6-5A559ACF3B72}" srcOrd="0" destOrd="0" presId="urn:microsoft.com/office/officeart/2005/8/layout/orgChart1"/>
    <dgm:cxn modelId="{1C989810-012C-49C8-A09A-6D22CFD40886}" type="presParOf" srcId="{760056DA-B5C8-4764-97EC-858D8B07859F}" destId="{282EE7F2-F65E-48AE-8E83-71D6AAD78CD5}" srcOrd="1" destOrd="0" presId="urn:microsoft.com/office/officeart/2005/8/layout/orgChart1"/>
    <dgm:cxn modelId="{A2A1532A-51E9-4157-9C39-3AE8CD8D6992}" type="presParOf" srcId="{8348AAAE-9DC9-40AA-A443-923413FBFF05}" destId="{EFDCAD21-D2F4-426B-AC03-D7D8CD01E16F}" srcOrd="1" destOrd="0" presId="urn:microsoft.com/office/officeart/2005/8/layout/orgChart1"/>
    <dgm:cxn modelId="{C60D4FB3-0C2C-4369-A004-A3892834258F}" type="presParOf" srcId="{8348AAAE-9DC9-40AA-A443-923413FBFF05}" destId="{38835C6D-E7AB-4D1C-A498-D8BBAE93103E}" srcOrd="2" destOrd="0" presId="urn:microsoft.com/office/officeart/2005/8/layout/orgChart1"/>
    <dgm:cxn modelId="{E11857A2-B737-45BA-97E2-63FB7CA96E16}" type="presParOf" srcId="{89C3D2EE-5AFB-4920-B315-E58CD71A2913}" destId="{3398AA96-563F-44B9-8721-77FD1164E23E}" srcOrd="2" destOrd="0" presId="urn:microsoft.com/office/officeart/2005/8/layout/orgChart1"/>
    <dgm:cxn modelId="{10304797-9503-4839-A075-6741B37AA478}" type="presParOf" srcId="{9EC4D292-AE6F-4DD5-85F9-0F1A2BE70ABA}" destId="{97EB759A-E60E-4A01-8C97-867521477CAC}" srcOrd="2" destOrd="0" presId="urn:microsoft.com/office/officeart/2005/8/layout/orgChart1"/>
    <dgm:cxn modelId="{130A4DDF-C9B1-4E64-819E-DA81105F44D5}" type="presParOf" srcId="{9EC4D292-AE6F-4DD5-85F9-0F1A2BE70ABA}" destId="{68A8437D-A1A2-4EFC-A0A9-52C773E1612D}" srcOrd="3" destOrd="0" presId="urn:microsoft.com/office/officeart/2005/8/layout/orgChart1"/>
    <dgm:cxn modelId="{B7299065-0AA4-4236-9262-66ED5F8B3F08}" type="presParOf" srcId="{68A8437D-A1A2-4EFC-A0A9-52C773E1612D}" destId="{EDB00226-62F0-493F-AF60-1ECDD8550219}" srcOrd="0" destOrd="0" presId="urn:microsoft.com/office/officeart/2005/8/layout/orgChart1"/>
    <dgm:cxn modelId="{F45E9F78-5C88-46A2-966D-19A366C4722C}" type="presParOf" srcId="{EDB00226-62F0-493F-AF60-1ECDD8550219}" destId="{800F0796-91F7-4FC7-B61B-F438578AA8BF}" srcOrd="0" destOrd="0" presId="urn:microsoft.com/office/officeart/2005/8/layout/orgChart1"/>
    <dgm:cxn modelId="{B997273B-D18B-4B33-9ECD-3B3B52C966F2}" type="presParOf" srcId="{EDB00226-62F0-493F-AF60-1ECDD8550219}" destId="{23AA27F3-8269-4CBD-9DD2-EA1CC9B65EFF}" srcOrd="1" destOrd="0" presId="urn:microsoft.com/office/officeart/2005/8/layout/orgChart1"/>
    <dgm:cxn modelId="{8F51E5CA-76F2-43C3-B752-0EB409DDA937}" type="presParOf" srcId="{68A8437D-A1A2-4EFC-A0A9-52C773E1612D}" destId="{F9F8B0FA-154A-4726-9384-74E63CD2CCE2}" srcOrd="1" destOrd="0" presId="urn:microsoft.com/office/officeart/2005/8/layout/orgChart1"/>
    <dgm:cxn modelId="{9A06918C-8F7A-4462-A2D9-BC663DA977F5}" type="presParOf" srcId="{68A8437D-A1A2-4EFC-A0A9-52C773E1612D}" destId="{29AC41E3-5745-44C7-AFE2-E0E39EBE8BE7}" srcOrd="2" destOrd="0" presId="urn:microsoft.com/office/officeart/2005/8/layout/orgChart1"/>
    <dgm:cxn modelId="{1F4B8694-27AB-48B7-B2F4-63F0A44D5D5F}" type="presParOf" srcId="{9EC4D292-AE6F-4DD5-85F9-0F1A2BE70ABA}" destId="{45A37A0E-CB9B-4C1C-A5D3-A483E068B38B}" srcOrd="4" destOrd="0" presId="urn:microsoft.com/office/officeart/2005/8/layout/orgChart1"/>
    <dgm:cxn modelId="{470964D8-6D2C-4237-80B7-28A415E4F8C0}" type="presParOf" srcId="{9EC4D292-AE6F-4DD5-85F9-0F1A2BE70ABA}" destId="{C4EB5B5D-7756-4FBE-941E-904355144CBD}" srcOrd="5" destOrd="0" presId="urn:microsoft.com/office/officeart/2005/8/layout/orgChart1"/>
    <dgm:cxn modelId="{C2A3B14D-BEFC-44A3-B928-39687E35FF17}" type="presParOf" srcId="{C4EB5B5D-7756-4FBE-941E-904355144CBD}" destId="{D4C93F87-C787-4B25-8048-B05C8E326DCC}" srcOrd="0" destOrd="0" presId="urn:microsoft.com/office/officeart/2005/8/layout/orgChart1"/>
    <dgm:cxn modelId="{A0474821-6972-483D-B58E-8DE38C3AB462}" type="presParOf" srcId="{D4C93F87-C787-4B25-8048-B05C8E326DCC}" destId="{F39EC961-8B55-4A2E-B34D-27808DA6420F}" srcOrd="0" destOrd="0" presId="urn:microsoft.com/office/officeart/2005/8/layout/orgChart1"/>
    <dgm:cxn modelId="{A5082CBA-17DA-4642-9E6E-4A834A20057C}" type="presParOf" srcId="{D4C93F87-C787-4B25-8048-B05C8E326DCC}" destId="{F0EC3753-5E93-4362-B4AC-25438E539F16}" srcOrd="1" destOrd="0" presId="urn:microsoft.com/office/officeart/2005/8/layout/orgChart1"/>
    <dgm:cxn modelId="{74A739A9-DC76-4AE3-A3A5-BB1178C042ED}" type="presParOf" srcId="{C4EB5B5D-7756-4FBE-941E-904355144CBD}" destId="{ADDA5661-9342-4059-B278-16CCD51C9ED8}" srcOrd="1" destOrd="0" presId="urn:microsoft.com/office/officeart/2005/8/layout/orgChart1"/>
    <dgm:cxn modelId="{7D667181-5D2A-449F-9966-D18AC0F79A56}" type="presParOf" srcId="{C4EB5B5D-7756-4FBE-941E-904355144CBD}" destId="{33836361-416C-4418-B700-8C3B230696E8}" srcOrd="2" destOrd="0" presId="urn:microsoft.com/office/officeart/2005/8/layout/orgChart1"/>
    <dgm:cxn modelId="{B86C855F-6314-4B16-832A-1BB9F6E6D52D}" type="presParOf" srcId="{B9FF96C7-9AA9-41A1-A8C0-B7D3C25D6501}" destId="{C4AAB2DF-E5EB-40A6-9002-6419D05A2534}" srcOrd="2" destOrd="0" presId="urn:microsoft.com/office/officeart/2005/8/layout/orgChart1"/>
    <dgm:cxn modelId="{72B3C51F-2709-49CA-ADA5-6A6B6CCFF695}" type="presParOf" srcId="{16373CE9-B73C-40E1-A886-518EB8FFF268}" destId="{FF872190-8250-4A4A-B835-AD72D9C8487D}" srcOrd="2" destOrd="0" presId="urn:microsoft.com/office/officeart/2005/8/layout/orgChart1"/>
    <dgm:cxn modelId="{B17BE72B-0098-4E20-8F95-AC68C1EE2ADB}" type="presParOf" srcId="{16373CE9-B73C-40E1-A886-518EB8FFF268}" destId="{3F052B76-D334-4B9F-A067-20238DC1A03A}" srcOrd="3" destOrd="0" presId="urn:microsoft.com/office/officeart/2005/8/layout/orgChart1"/>
    <dgm:cxn modelId="{04728591-0EC1-48F7-B0A6-C6BC0021F7B8}" type="presParOf" srcId="{3F052B76-D334-4B9F-A067-20238DC1A03A}" destId="{DBA727C6-9DFB-4942-A35F-58CF38197623}" srcOrd="0" destOrd="0" presId="urn:microsoft.com/office/officeart/2005/8/layout/orgChart1"/>
    <dgm:cxn modelId="{26B12818-D418-49AA-B25C-E2AAE5310580}" type="presParOf" srcId="{DBA727C6-9DFB-4942-A35F-58CF38197623}" destId="{5EC2875B-D9CC-4D9B-B035-16173D55F42E}" srcOrd="0" destOrd="0" presId="urn:microsoft.com/office/officeart/2005/8/layout/orgChart1"/>
    <dgm:cxn modelId="{EA8024B4-7E52-40D2-970E-04696739130D}" type="presParOf" srcId="{DBA727C6-9DFB-4942-A35F-58CF38197623}" destId="{2C661922-64E1-461B-85EC-3C5B090B968A}" srcOrd="1" destOrd="0" presId="urn:microsoft.com/office/officeart/2005/8/layout/orgChart1"/>
    <dgm:cxn modelId="{F70E996A-E275-4C08-8F86-C85F534D9953}" type="presParOf" srcId="{3F052B76-D334-4B9F-A067-20238DC1A03A}" destId="{19D89429-45D8-4A06-97C7-5A0236C50973}" srcOrd="1" destOrd="0" presId="urn:microsoft.com/office/officeart/2005/8/layout/orgChart1"/>
    <dgm:cxn modelId="{7D03561C-8939-4161-A50F-E992F7D42248}" type="presParOf" srcId="{19D89429-45D8-4A06-97C7-5A0236C50973}" destId="{72582EF1-1794-42F1-8378-D815377931A4}" srcOrd="0" destOrd="0" presId="urn:microsoft.com/office/officeart/2005/8/layout/orgChart1"/>
    <dgm:cxn modelId="{499BEE30-4E02-461C-B245-983420E05613}" type="presParOf" srcId="{19D89429-45D8-4A06-97C7-5A0236C50973}" destId="{F14F8D03-8E20-4730-891B-64B551CA632E}" srcOrd="1" destOrd="0" presId="urn:microsoft.com/office/officeart/2005/8/layout/orgChart1"/>
    <dgm:cxn modelId="{1BBA81C4-77A5-4956-A62A-78BA5B915C9D}" type="presParOf" srcId="{F14F8D03-8E20-4730-891B-64B551CA632E}" destId="{52C4AA99-4CB2-4033-8D29-8494B1550917}" srcOrd="0" destOrd="0" presId="urn:microsoft.com/office/officeart/2005/8/layout/orgChart1"/>
    <dgm:cxn modelId="{A7462AAB-8289-446D-BB0B-DBBA710A09C8}" type="presParOf" srcId="{52C4AA99-4CB2-4033-8D29-8494B1550917}" destId="{326C290B-2F11-4486-B5C3-E306AD24B67F}" srcOrd="0" destOrd="0" presId="urn:microsoft.com/office/officeart/2005/8/layout/orgChart1"/>
    <dgm:cxn modelId="{8C6D6976-06BF-4D6B-ABA9-5026F6A10388}" type="presParOf" srcId="{52C4AA99-4CB2-4033-8D29-8494B1550917}" destId="{6D35F656-7DC9-4077-98E9-A502B434F51A}" srcOrd="1" destOrd="0" presId="urn:microsoft.com/office/officeart/2005/8/layout/orgChart1"/>
    <dgm:cxn modelId="{F6E8788D-2254-4AA2-8337-5D78A210470C}" type="presParOf" srcId="{F14F8D03-8E20-4730-891B-64B551CA632E}" destId="{4950517C-9459-467E-B65E-1C6557BA0758}" srcOrd="1" destOrd="0" presId="urn:microsoft.com/office/officeart/2005/8/layout/orgChart1"/>
    <dgm:cxn modelId="{284F24E2-95AD-4F9C-870D-E2F5498C033F}" type="presParOf" srcId="{F14F8D03-8E20-4730-891B-64B551CA632E}" destId="{2ACF6CF3-341B-417B-8885-7CA698877DEA}" srcOrd="2" destOrd="0" presId="urn:microsoft.com/office/officeart/2005/8/layout/orgChart1"/>
    <dgm:cxn modelId="{34466E36-295F-42DC-8F4F-A860C80B602F}" type="presParOf" srcId="{19D89429-45D8-4A06-97C7-5A0236C50973}" destId="{C7B73C34-F600-48C1-A19F-9D2B46510881}" srcOrd="2" destOrd="0" presId="urn:microsoft.com/office/officeart/2005/8/layout/orgChart1"/>
    <dgm:cxn modelId="{3142E67C-3AB9-4C77-A7B8-E78EE5D9AEAB}" type="presParOf" srcId="{19D89429-45D8-4A06-97C7-5A0236C50973}" destId="{429CCAF3-F749-43C6-82F9-0F646B6E3170}" srcOrd="3" destOrd="0" presId="urn:microsoft.com/office/officeart/2005/8/layout/orgChart1"/>
    <dgm:cxn modelId="{B5D0D65F-DEAD-401C-B1C2-A158147C4283}" type="presParOf" srcId="{429CCAF3-F749-43C6-82F9-0F646B6E3170}" destId="{C861329C-FA17-4CB8-97CE-FD153EC44187}" srcOrd="0" destOrd="0" presId="urn:microsoft.com/office/officeart/2005/8/layout/orgChart1"/>
    <dgm:cxn modelId="{B8262A8E-1330-4156-88FC-55FFA92A0732}" type="presParOf" srcId="{C861329C-FA17-4CB8-97CE-FD153EC44187}" destId="{1C76FE37-751C-41E4-B420-8D8975026EA4}" srcOrd="0" destOrd="0" presId="urn:microsoft.com/office/officeart/2005/8/layout/orgChart1"/>
    <dgm:cxn modelId="{34993A2F-A586-4ECD-95ED-80142AC2AAB5}" type="presParOf" srcId="{C861329C-FA17-4CB8-97CE-FD153EC44187}" destId="{895ABED2-8545-4F06-9ACB-AB57AAF278F1}" srcOrd="1" destOrd="0" presId="urn:microsoft.com/office/officeart/2005/8/layout/orgChart1"/>
    <dgm:cxn modelId="{DF7E24FB-A3F2-4B8E-8F61-97704C108F22}" type="presParOf" srcId="{429CCAF3-F749-43C6-82F9-0F646B6E3170}" destId="{4922E355-BF7F-41D2-80F9-048C04C7F4C7}" srcOrd="1" destOrd="0" presId="urn:microsoft.com/office/officeart/2005/8/layout/orgChart1"/>
    <dgm:cxn modelId="{2B6E4422-4413-44E5-891C-EE25B72F30AB}" type="presParOf" srcId="{429CCAF3-F749-43C6-82F9-0F646B6E3170}" destId="{47DF9AA6-115D-490C-B6CF-7D4B57E9A404}" srcOrd="2" destOrd="0" presId="urn:microsoft.com/office/officeart/2005/8/layout/orgChart1"/>
    <dgm:cxn modelId="{9573D8A3-A620-4706-9FCC-8529F14DF27C}" type="presParOf" srcId="{19D89429-45D8-4A06-97C7-5A0236C50973}" destId="{E424D290-0E8D-484C-BB88-96750904C767}" srcOrd="4" destOrd="0" presId="urn:microsoft.com/office/officeart/2005/8/layout/orgChart1"/>
    <dgm:cxn modelId="{2D65B962-D8F3-467C-8A47-1C7D209D11CA}" type="presParOf" srcId="{19D89429-45D8-4A06-97C7-5A0236C50973}" destId="{2C15E747-285B-4384-97B2-367A8E73DDD8}" srcOrd="5" destOrd="0" presId="urn:microsoft.com/office/officeart/2005/8/layout/orgChart1"/>
    <dgm:cxn modelId="{7D84D889-7C19-4D1F-B87E-2EAB83FA72AC}" type="presParOf" srcId="{2C15E747-285B-4384-97B2-367A8E73DDD8}" destId="{801C6F8B-D1E1-4D63-8A9F-88C2F1076652}" srcOrd="0" destOrd="0" presId="urn:microsoft.com/office/officeart/2005/8/layout/orgChart1"/>
    <dgm:cxn modelId="{F2C383A5-5CE2-4A5B-BEE0-17DE6D97E1E5}" type="presParOf" srcId="{801C6F8B-D1E1-4D63-8A9F-88C2F1076652}" destId="{46CCEBD5-935A-4AF9-B3E0-934FD6ECE5D7}" srcOrd="0" destOrd="0" presId="urn:microsoft.com/office/officeart/2005/8/layout/orgChart1"/>
    <dgm:cxn modelId="{AC2503FC-95DB-414A-8E2A-8C452B725974}" type="presParOf" srcId="{801C6F8B-D1E1-4D63-8A9F-88C2F1076652}" destId="{6708710A-D302-478F-8AE7-EB495BF52E75}" srcOrd="1" destOrd="0" presId="urn:microsoft.com/office/officeart/2005/8/layout/orgChart1"/>
    <dgm:cxn modelId="{21EB4C95-344B-48FE-A6D8-84D8425B0B0C}" type="presParOf" srcId="{2C15E747-285B-4384-97B2-367A8E73DDD8}" destId="{FA929ADE-EDE3-49CE-9EE0-5F1D9C9D1ECC}" srcOrd="1" destOrd="0" presId="urn:microsoft.com/office/officeart/2005/8/layout/orgChart1"/>
    <dgm:cxn modelId="{57E6F783-BDB6-4AEC-8B74-2D1461D4FEB9}" type="presParOf" srcId="{2C15E747-285B-4384-97B2-367A8E73DDD8}" destId="{255F6D75-51AF-451E-819E-CDDF6ACE2DFD}" srcOrd="2" destOrd="0" presId="urn:microsoft.com/office/officeart/2005/8/layout/orgChart1"/>
    <dgm:cxn modelId="{0AE6461D-1800-4509-87E9-51787DA175AE}" type="presParOf" srcId="{19D89429-45D8-4A06-97C7-5A0236C50973}" destId="{5D97F4B6-5770-41EC-95AE-4BC25AF25D8D}" srcOrd="6" destOrd="0" presId="urn:microsoft.com/office/officeart/2005/8/layout/orgChart1"/>
    <dgm:cxn modelId="{50AE259A-1EFA-46F8-B1B3-96CA9FAF6A7D}" type="presParOf" srcId="{19D89429-45D8-4A06-97C7-5A0236C50973}" destId="{579F0ED3-47A2-4D94-860C-C2B8E7C3C894}" srcOrd="7" destOrd="0" presId="urn:microsoft.com/office/officeart/2005/8/layout/orgChart1"/>
    <dgm:cxn modelId="{CFA5031A-6A9C-4FD9-B442-81C460085B88}" type="presParOf" srcId="{579F0ED3-47A2-4D94-860C-C2B8E7C3C894}" destId="{22B49CF5-C20E-4217-8854-3C06BE6659A9}" srcOrd="0" destOrd="0" presId="urn:microsoft.com/office/officeart/2005/8/layout/orgChart1"/>
    <dgm:cxn modelId="{81765090-3037-4572-A9A6-AC523A23A6A1}" type="presParOf" srcId="{22B49CF5-C20E-4217-8854-3C06BE6659A9}" destId="{358A5EF5-CC11-42EE-9050-C151AE37BE17}" srcOrd="0" destOrd="0" presId="urn:microsoft.com/office/officeart/2005/8/layout/orgChart1"/>
    <dgm:cxn modelId="{AC1753B1-0FC8-4D01-98AA-276CDD8FEE4A}" type="presParOf" srcId="{22B49CF5-C20E-4217-8854-3C06BE6659A9}" destId="{6D3A1796-26FB-4A6A-A4B8-484C9FEAC118}" srcOrd="1" destOrd="0" presId="urn:microsoft.com/office/officeart/2005/8/layout/orgChart1"/>
    <dgm:cxn modelId="{F5AC44D5-974D-401D-A85A-21870A040581}" type="presParOf" srcId="{579F0ED3-47A2-4D94-860C-C2B8E7C3C894}" destId="{AB33D75D-FB10-4C6E-A236-7CF1705B6C39}" srcOrd="1" destOrd="0" presId="urn:microsoft.com/office/officeart/2005/8/layout/orgChart1"/>
    <dgm:cxn modelId="{75615A74-BC66-4318-8F82-589BC25267D1}" type="presParOf" srcId="{579F0ED3-47A2-4D94-860C-C2B8E7C3C894}" destId="{5B26CDE3-2889-48BE-AD49-E77A9150053F}" srcOrd="2" destOrd="0" presId="urn:microsoft.com/office/officeart/2005/8/layout/orgChart1"/>
    <dgm:cxn modelId="{4616C8AB-0BE9-40C2-B8C5-41B52E589617}" type="presParOf" srcId="{3F052B76-D334-4B9F-A067-20238DC1A03A}" destId="{EAB6CC06-CD6D-474B-A74A-1C0F757B4616}" srcOrd="2" destOrd="0" presId="urn:microsoft.com/office/officeart/2005/8/layout/orgChart1"/>
    <dgm:cxn modelId="{A1D65814-0DE6-45FD-88BE-A1FD25D0A1E4}" type="presParOf" srcId="{5F320907-9ADC-4EBF-946F-55701AEB9365}" destId="{C8841982-EBEF-4EAC-BE07-6ABA9CE70634}"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E97F07-166E-4646-8F3F-713BE98FF8D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6002B94-D09E-435C-A5F9-59D3BEF8FC71}">
      <dgm:prSet phldrT="[Text]"/>
      <dgm:spPr/>
      <dgm:t>
        <a:bodyPr/>
        <a:lstStyle/>
        <a:p>
          <a:r>
            <a:rPr lang="en-US" dirty="0"/>
            <a:t>Chief Education Officer</a:t>
          </a:r>
        </a:p>
      </dgm:t>
    </dgm:pt>
    <dgm:pt modelId="{187FCC7C-B3F3-47E0-9469-7908E98C35FA}" type="parTrans" cxnId="{C0C70E8D-9F04-472E-8162-02AD0AE082D1}">
      <dgm:prSet/>
      <dgm:spPr/>
      <dgm:t>
        <a:bodyPr/>
        <a:lstStyle/>
        <a:p>
          <a:endParaRPr lang="en-US"/>
        </a:p>
      </dgm:t>
    </dgm:pt>
    <dgm:pt modelId="{4E74CEF0-454A-4E7B-ADC8-EEA7E2B8954C}" type="sibTrans" cxnId="{C0C70E8D-9F04-472E-8162-02AD0AE082D1}">
      <dgm:prSet/>
      <dgm:spPr/>
      <dgm:t>
        <a:bodyPr/>
        <a:lstStyle/>
        <a:p>
          <a:endParaRPr lang="en-US"/>
        </a:p>
      </dgm:t>
    </dgm:pt>
    <dgm:pt modelId="{58135677-0A81-4361-B9C9-A005F11157E4}">
      <dgm:prSet phldrT="[Text]"/>
      <dgm:spPr/>
      <dgm:t>
        <a:bodyPr/>
        <a:lstStyle/>
        <a:p>
          <a:r>
            <a:rPr lang="en-US" dirty="0"/>
            <a:t>Director of Youth Residential Services</a:t>
          </a:r>
        </a:p>
      </dgm:t>
    </dgm:pt>
    <dgm:pt modelId="{BE5A2021-5D71-4F6D-9B0F-CEFD2D18CB1F}" type="parTrans" cxnId="{9C3FF7A2-C17A-4B26-B03D-79ADCDF62B6E}">
      <dgm:prSet/>
      <dgm:spPr/>
      <dgm:t>
        <a:bodyPr/>
        <a:lstStyle/>
        <a:p>
          <a:endParaRPr lang="en-US"/>
        </a:p>
      </dgm:t>
    </dgm:pt>
    <dgm:pt modelId="{F9112C6D-31DC-40AE-B9B0-55E3CD1C3285}" type="sibTrans" cxnId="{9C3FF7A2-C17A-4B26-B03D-79ADCDF62B6E}">
      <dgm:prSet/>
      <dgm:spPr/>
      <dgm:t>
        <a:bodyPr/>
        <a:lstStyle/>
        <a:p>
          <a:endParaRPr lang="en-US"/>
        </a:p>
      </dgm:t>
    </dgm:pt>
    <dgm:pt modelId="{1C5ED702-6D00-4A1D-9C7A-436C60845140}">
      <dgm:prSet>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dgm:spPr>
      <dgm:t>
        <a:bodyPr/>
        <a:lstStyle/>
        <a:p>
          <a:r>
            <a:rPr lang="en-US" dirty="0"/>
            <a:t>Associate Director of Clinical Services</a:t>
          </a:r>
        </a:p>
      </dgm:t>
    </dgm:pt>
    <dgm:pt modelId="{24DEFE67-353B-4E4C-BB64-48170CA6D166}" type="parTrans" cxnId="{1C2C928D-1B05-4B2B-88B8-AE91091DA785}">
      <dgm:prSet/>
      <dgm:spPr/>
      <dgm:t>
        <a:bodyPr/>
        <a:lstStyle/>
        <a:p>
          <a:endParaRPr lang="en-US"/>
        </a:p>
      </dgm:t>
    </dgm:pt>
    <dgm:pt modelId="{5BFD32FE-4E9A-4689-9FDC-2806610433E3}" type="sibTrans" cxnId="{1C2C928D-1B05-4B2B-88B8-AE91091DA785}">
      <dgm:prSet/>
      <dgm:spPr/>
      <dgm:t>
        <a:bodyPr/>
        <a:lstStyle/>
        <a:p>
          <a:endParaRPr lang="en-US"/>
        </a:p>
      </dgm:t>
    </dgm:pt>
    <dgm:pt modelId="{F6382F79-8FA8-413A-BC07-11F00E8E57D3}">
      <dgm:prSet custT="1">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a:ln/>
      </dgm:spPr>
      <dgm:t>
        <a:bodyPr spcFirstLastPara="0" vert="horz" wrap="square" lIns="4445" tIns="4445" rIns="4445" bIns="4445" numCol="1" spcCol="1270" anchor="ctr" anchorCtr="0"/>
        <a:lstStyle/>
        <a:p>
          <a:pPr marL="0" lvl="0" indent="0" algn="ctr" defTabSz="266700">
            <a:lnSpc>
              <a:spcPct val="90000"/>
            </a:lnSpc>
            <a:spcBef>
              <a:spcPct val="0"/>
            </a:spcBef>
            <a:spcAft>
              <a:spcPct val="35000"/>
            </a:spcAft>
            <a:buNone/>
          </a:pPr>
          <a:r>
            <a:rPr lang="en-US" sz="600" kern="1200" dirty="0">
              <a:solidFill>
                <a:srgbClr val="04243A"/>
              </a:solidFill>
              <a:latin typeface="Century Gothic"/>
              <a:ea typeface="+mn-ea"/>
              <a:cs typeface="+mn-cs"/>
            </a:rPr>
            <a:t>Clinical Case Manager</a:t>
          </a:r>
        </a:p>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Dogwood, Chestnut, Walnut</a:t>
          </a:r>
        </a:p>
      </dgm:t>
    </dgm:pt>
    <dgm:pt modelId="{E84D9619-23CD-44F0-A667-E6875462C6FF}" type="parTrans" cxnId="{00EB1B49-B4FB-4414-91A6-12E22AE653FA}">
      <dgm:prSet/>
      <dgm:spPr/>
      <dgm:t>
        <a:bodyPr/>
        <a:lstStyle/>
        <a:p>
          <a:endParaRPr lang="en-US"/>
        </a:p>
      </dgm:t>
    </dgm:pt>
    <dgm:pt modelId="{F3CACBED-57C3-48C1-9431-7DFA8BD8D834}" type="sibTrans" cxnId="{00EB1B49-B4FB-4414-91A6-12E22AE653FA}">
      <dgm:prSet/>
      <dgm:spPr/>
      <dgm:t>
        <a:bodyPr/>
        <a:lstStyle/>
        <a:p>
          <a:endParaRPr lang="en-US"/>
        </a:p>
      </dgm:t>
    </dgm:pt>
    <dgm:pt modelId="{5C7BC345-B12F-49C2-87CA-37D3378B1C6C}">
      <dgm:prSet>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a:ln>
          <a:solidFill>
            <a:schemeClr val="accent1"/>
          </a:solidFill>
        </a:ln>
      </dgm:spPr>
      <dgm:t>
        <a:bodyPr/>
        <a:lstStyle/>
        <a:p>
          <a:r>
            <a:rPr lang="en-US" dirty="0"/>
            <a:t>Clinical Case Manager</a:t>
          </a:r>
        </a:p>
        <a:p>
          <a:r>
            <a:rPr lang="en-US" dirty="0">
              <a:solidFill>
                <a:schemeClr val="accent1"/>
              </a:solidFill>
            </a:rPr>
            <a:t>Willow, Pine, Maple</a:t>
          </a:r>
        </a:p>
      </dgm:t>
    </dgm:pt>
    <dgm:pt modelId="{FE922007-D0EF-49DB-B0DC-7D5928EC21F1}" type="parTrans" cxnId="{EEA14464-F72D-4C91-967B-AFED44BC35CF}">
      <dgm:prSet/>
      <dgm:spPr/>
      <dgm:t>
        <a:bodyPr/>
        <a:lstStyle/>
        <a:p>
          <a:endParaRPr lang="en-US"/>
        </a:p>
      </dgm:t>
    </dgm:pt>
    <dgm:pt modelId="{FE337125-7638-4C49-96A3-C936F78FC012}" type="sibTrans" cxnId="{EEA14464-F72D-4C91-967B-AFED44BC35CF}">
      <dgm:prSet/>
      <dgm:spPr/>
      <dgm:t>
        <a:bodyPr/>
        <a:lstStyle/>
        <a:p>
          <a:endParaRPr lang="en-US"/>
        </a:p>
      </dgm:t>
    </dgm:pt>
    <dgm:pt modelId="{2CB46D88-A37E-4B7C-A4D0-EE01A2D063D2}">
      <dgm:prSet/>
      <dgm:spPr>
        <a:solidFill>
          <a:schemeClr val="accent4">
            <a:lumMod val="20000"/>
            <a:lumOff val="80000"/>
          </a:schemeClr>
        </a:solidFill>
        <a:ln>
          <a:solidFill>
            <a:schemeClr val="accent1"/>
          </a:solidFill>
        </a:ln>
      </dgm:spPr>
      <dgm:t>
        <a:bodyPr/>
        <a:lstStyle/>
        <a:p>
          <a:r>
            <a:rPr lang="en-US" dirty="0">
              <a:solidFill>
                <a:schemeClr val="accent1"/>
              </a:solidFill>
            </a:rPr>
            <a:t>BCBA</a:t>
          </a:r>
        </a:p>
      </dgm:t>
    </dgm:pt>
    <dgm:pt modelId="{1EDBB388-C7ED-4F47-AFA1-49017C082704}" type="parTrans" cxnId="{C1725EBB-D1B1-468A-AD9A-2115B140FC77}">
      <dgm:prSet/>
      <dgm:spPr/>
      <dgm:t>
        <a:bodyPr/>
        <a:lstStyle/>
        <a:p>
          <a:endParaRPr lang="en-US"/>
        </a:p>
      </dgm:t>
    </dgm:pt>
    <dgm:pt modelId="{4DCE9E63-C707-4027-A646-4107A6B9145D}" type="sibTrans" cxnId="{C1725EBB-D1B1-468A-AD9A-2115B140FC77}">
      <dgm:prSet/>
      <dgm:spPr/>
      <dgm:t>
        <a:bodyPr/>
        <a:lstStyle/>
        <a:p>
          <a:endParaRPr lang="en-US"/>
        </a:p>
      </dgm:t>
    </dgm:pt>
    <dgm:pt modelId="{607D7892-2569-4A31-BE0E-822482C37F3D}">
      <dgm:prSet/>
      <dgm:spPr>
        <a:solidFill>
          <a:schemeClr val="accent4">
            <a:lumMod val="20000"/>
            <a:lumOff val="80000"/>
          </a:schemeClr>
        </a:solidFill>
        <a:ln>
          <a:solidFill>
            <a:schemeClr val="accent1"/>
          </a:solidFill>
        </a:ln>
      </dgm:spPr>
      <dgm:t>
        <a:bodyPr/>
        <a:lstStyle/>
        <a:p>
          <a:r>
            <a:rPr lang="en-US" dirty="0">
              <a:solidFill>
                <a:schemeClr val="accent1"/>
              </a:solidFill>
            </a:rPr>
            <a:t>OT</a:t>
          </a:r>
        </a:p>
      </dgm:t>
    </dgm:pt>
    <dgm:pt modelId="{60819F5D-1058-4309-8330-F01818CD4500}" type="parTrans" cxnId="{544F285F-15BB-42E1-AA33-C48BECABC380}">
      <dgm:prSet/>
      <dgm:spPr/>
      <dgm:t>
        <a:bodyPr/>
        <a:lstStyle/>
        <a:p>
          <a:endParaRPr lang="en-US"/>
        </a:p>
      </dgm:t>
    </dgm:pt>
    <dgm:pt modelId="{CA0F073D-6DD8-4708-B741-F352F4696726}" type="sibTrans" cxnId="{544F285F-15BB-42E1-AA33-C48BECABC380}">
      <dgm:prSet/>
      <dgm:spPr/>
      <dgm:t>
        <a:bodyPr/>
        <a:lstStyle/>
        <a:p>
          <a:endParaRPr lang="en-US"/>
        </a:p>
      </dgm:t>
    </dgm:pt>
    <dgm:pt modelId="{401115A0-4D38-46A8-B3C5-D7E892CAAD5B}">
      <dgm:prSet/>
      <dgm:spPr>
        <a:solidFill>
          <a:schemeClr val="accent4">
            <a:lumMod val="20000"/>
            <a:lumOff val="80000"/>
          </a:schemeClr>
        </a:solidFill>
        <a:ln>
          <a:solidFill>
            <a:schemeClr val="accent1"/>
          </a:solidFill>
        </a:ln>
      </dgm:spPr>
      <dgm:t>
        <a:bodyPr/>
        <a:lstStyle/>
        <a:p>
          <a:r>
            <a:rPr lang="en-US" dirty="0">
              <a:solidFill>
                <a:schemeClr val="accent1"/>
              </a:solidFill>
            </a:rPr>
            <a:t>SLP</a:t>
          </a:r>
        </a:p>
      </dgm:t>
    </dgm:pt>
    <dgm:pt modelId="{627B2C3E-2E5E-42E2-9BF9-31A8B335D95D}" type="parTrans" cxnId="{46983940-783C-4773-B1D7-7DAE325A87D1}">
      <dgm:prSet/>
      <dgm:spPr/>
      <dgm:t>
        <a:bodyPr/>
        <a:lstStyle/>
        <a:p>
          <a:endParaRPr lang="en-US"/>
        </a:p>
      </dgm:t>
    </dgm:pt>
    <dgm:pt modelId="{055A4AB0-CFB1-4DA5-8322-C13C6A5A9BAA}" type="sibTrans" cxnId="{46983940-783C-4773-B1D7-7DAE325A87D1}">
      <dgm:prSet/>
      <dgm:spPr/>
      <dgm:t>
        <a:bodyPr/>
        <a:lstStyle/>
        <a:p>
          <a:endParaRPr lang="en-US"/>
        </a:p>
      </dgm:t>
    </dgm:pt>
    <dgm:pt modelId="{33A68A52-6159-4DAE-B33E-2FF719C49558}">
      <dgm:prSet/>
      <dgm:spPr>
        <a:solidFill>
          <a:schemeClr val="accent4">
            <a:lumMod val="20000"/>
            <a:lumOff val="80000"/>
          </a:schemeClr>
        </a:solidFill>
        <a:ln>
          <a:solidFill>
            <a:schemeClr val="accent1"/>
          </a:solidFill>
        </a:ln>
      </dgm:spPr>
      <dgm:t>
        <a:bodyPr/>
        <a:lstStyle/>
        <a:p>
          <a:r>
            <a:rPr lang="en-US" dirty="0">
              <a:solidFill>
                <a:schemeClr val="accent1"/>
              </a:solidFill>
            </a:rPr>
            <a:t>Counselor</a:t>
          </a:r>
        </a:p>
      </dgm:t>
    </dgm:pt>
    <dgm:pt modelId="{C040A107-5400-476F-9196-289C01A5ECAB}" type="parTrans" cxnId="{ED91C9E6-68A7-4E84-B609-A769E82AC1EA}">
      <dgm:prSet/>
      <dgm:spPr/>
      <dgm:t>
        <a:bodyPr/>
        <a:lstStyle/>
        <a:p>
          <a:endParaRPr lang="en-US"/>
        </a:p>
      </dgm:t>
    </dgm:pt>
    <dgm:pt modelId="{A385A739-0621-47DB-A26D-72555667FA51}" type="sibTrans" cxnId="{ED91C9E6-68A7-4E84-B609-A769E82AC1EA}">
      <dgm:prSet/>
      <dgm:spPr/>
      <dgm:t>
        <a:bodyPr/>
        <a:lstStyle/>
        <a:p>
          <a:endParaRPr lang="en-US"/>
        </a:p>
      </dgm:t>
    </dgm:pt>
    <dgm:pt modelId="{F44A1BDD-EE53-4FA6-A4D3-0B829201FF10}">
      <dgm:prSet>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a:ln>
          <a:solidFill>
            <a:schemeClr val="accent1"/>
          </a:solidFill>
        </a:ln>
      </dgm:spPr>
      <dgm:t>
        <a:bodyPr/>
        <a:lstStyle/>
        <a:p>
          <a:r>
            <a:rPr lang="en-US" dirty="0"/>
            <a:t>Clinical Case Manager</a:t>
          </a:r>
        </a:p>
        <a:p>
          <a:r>
            <a:rPr lang="en-US" dirty="0">
              <a:solidFill>
                <a:schemeClr val="accent1"/>
              </a:solidFill>
            </a:rPr>
            <a:t>Cedar, Sassafras, Mulberry</a:t>
          </a:r>
        </a:p>
      </dgm:t>
    </dgm:pt>
    <dgm:pt modelId="{FDC28D2D-E716-40BA-A482-2A6FA920FE7F}" type="parTrans" cxnId="{B33DA7CA-F10A-49A8-864B-DBD404E30DE4}">
      <dgm:prSet/>
      <dgm:spPr/>
      <dgm:t>
        <a:bodyPr/>
        <a:lstStyle/>
        <a:p>
          <a:endParaRPr lang="en-US"/>
        </a:p>
      </dgm:t>
    </dgm:pt>
    <dgm:pt modelId="{5BDC39C0-B40B-46DE-B8BD-2AABA2BC9874}" type="sibTrans" cxnId="{B33DA7CA-F10A-49A8-864B-DBD404E30DE4}">
      <dgm:prSet/>
      <dgm:spPr/>
      <dgm:t>
        <a:bodyPr/>
        <a:lstStyle/>
        <a:p>
          <a:endParaRPr lang="en-US"/>
        </a:p>
      </dgm:t>
    </dgm:pt>
    <dgm:pt modelId="{1A09EF79-2F34-4D48-9D45-887EDCC7FCA1}">
      <dgm:prSet/>
      <dgm:spPr>
        <a:solidFill>
          <a:schemeClr val="accent4">
            <a:lumMod val="20000"/>
            <a:lumOff val="80000"/>
          </a:schemeClr>
        </a:solidFill>
        <a:ln>
          <a:solidFill>
            <a:schemeClr val="accent1"/>
          </a:solidFill>
        </a:ln>
      </dgm:spPr>
      <dgm:t>
        <a:bodyPr/>
        <a:lstStyle/>
        <a:p>
          <a:r>
            <a:rPr lang="en-US" dirty="0">
              <a:solidFill>
                <a:schemeClr val="accent1"/>
              </a:solidFill>
            </a:rPr>
            <a:t>BCBA</a:t>
          </a:r>
        </a:p>
      </dgm:t>
    </dgm:pt>
    <dgm:pt modelId="{259E44B6-650C-464D-A315-0E0EC8C2618D}" type="parTrans" cxnId="{D0AFD86B-F17E-40CC-99ED-513EB5EE6F52}">
      <dgm:prSet/>
      <dgm:spPr/>
      <dgm:t>
        <a:bodyPr/>
        <a:lstStyle/>
        <a:p>
          <a:endParaRPr lang="en-US"/>
        </a:p>
      </dgm:t>
    </dgm:pt>
    <dgm:pt modelId="{EEF55274-BCF1-4AE1-B228-BF3DF89E7C75}" type="sibTrans" cxnId="{D0AFD86B-F17E-40CC-99ED-513EB5EE6F52}">
      <dgm:prSet/>
      <dgm:spPr/>
      <dgm:t>
        <a:bodyPr/>
        <a:lstStyle/>
        <a:p>
          <a:endParaRPr lang="en-US"/>
        </a:p>
      </dgm:t>
    </dgm:pt>
    <dgm:pt modelId="{26191A03-3627-4E26-AC2F-FFD548AF77D1}">
      <dgm:prSet/>
      <dgm:spPr>
        <a:solidFill>
          <a:schemeClr val="accent4">
            <a:lumMod val="20000"/>
            <a:lumOff val="80000"/>
          </a:schemeClr>
        </a:solidFill>
        <a:ln>
          <a:solidFill>
            <a:schemeClr val="accent1"/>
          </a:solidFill>
        </a:ln>
      </dgm:spPr>
      <dgm:t>
        <a:bodyPr/>
        <a:lstStyle/>
        <a:p>
          <a:r>
            <a:rPr lang="en-US" dirty="0">
              <a:solidFill>
                <a:schemeClr val="accent1"/>
              </a:solidFill>
            </a:rPr>
            <a:t>OT</a:t>
          </a:r>
        </a:p>
      </dgm:t>
    </dgm:pt>
    <dgm:pt modelId="{3070FEAF-E714-4809-86DA-9D9DC615893B}" type="parTrans" cxnId="{D7272790-42E8-4B4B-9F87-9EEE6EF70411}">
      <dgm:prSet/>
      <dgm:spPr/>
      <dgm:t>
        <a:bodyPr/>
        <a:lstStyle/>
        <a:p>
          <a:endParaRPr lang="en-US"/>
        </a:p>
      </dgm:t>
    </dgm:pt>
    <dgm:pt modelId="{9E01997C-7A21-4C58-B175-BD8FFF5F622A}" type="sibTrans" cxnId="{D7272790-42E8-4B4B-9F87-9EEE6EF70411}">
      <dgm:prSet/>
      <dgm:spPr/>
      <dgm:t>
        <a:bodyPr/>
        <a:lstStyle/>
        <a:p>
          <a:endParaRPr lang="en-US"/>
        </a:p>
      </dgm:t>
    </dgm:pt>
    <dgm:pt modelId="{11A47870-75E9-4C3F-892B-448E73141CBD}">
      <dgm:prSet/>
      <dgm:spPr>
        <a:solidFill>
          <a:schemeClr val="accent4">
            <a:lumMod val="20000"/>
            <a:lumOff val="80000"/>
          </a:schemeClr>
        </a:solidFill>
        <a:ln>
          <a:solidFill>
            <a:schemeClr val="accent1"/>
          </a:solidFill>
        </a:ln>
      </dgm:spPr>
      <dgm:t>
        <a:bodyPr/>
        <a:lstStyle/>
        <a:p>
          <a:r>
            <a:rPr lang="en-US" dirty="0">
              <a:solidFill>
                <a:schemeClr val="accent1"/>
              </a:solidFill>
            </a:rPr>
            <a:t>SLP</a:t>
          </a:r>
        </a:p>
      </dgm:t>
    </dgm:pt>
    <dgm:pt modelId="{7DB54FCA-DCE7-4972-AF17-E6160395D967}" type="parTrans" cxnId="{46A177F9-A294-4330-AB7C-FA9CDA8AFAC8}">
      <dgm:prSet/>
      <dgm:spPr/>
      <dgm:t>
        <a:bodyPr/>
        <a:lstStyle/>
        <a:p>
          <a:endParaRPr lang="en-US"/>
        </a:p>
      </dgm:t>
    </dgm:pt>
    <dgm:pt modelId="{0F712D2E-4D46-4125-99A2-2C01A556A9D4}" type="sibTrans" cxnId="{46A177F9-A294-4330-AB7C-FA9CDA8AFAC8}">
      <dgm:prSet/>
      <dgm:spPr/>
      <dgm:t>
        <a:bodyPr/>
        <a:lstStyle/>
        <a:p>
          <a:endParaRPr lang="en-US"/>
        </a:p>
      </dgm:t>
    </dgm:pt>
    <dgm:pt modelId="{35276BF8-A74A-468D-873C-DBC02263A51E}">
      <dgm:prSet/>
      <dgm:spPr>
        <a:solidFill>
          <a:schemeClr val="accent4">
            <a:lumMod val="20000"/>
            <a:lumOff val="80000"/>
          </a:schemeClr>
        </a:solidFill>
        <a:ln>
          <a:solidFill>
            <a:schemeClr val="accent1"/>
          </a:solidFill>
        </a:ln>
      </dgm:spPr>
      <dgm:t>
        <a:bodyPr/>
        <a:lstStyle/>
        <a:p>
          <a:r>
            <a:rPr lang="en-US" dirty="0">
              <a:solidFill>
                <a:schemeClr val="accent1"/>
              </a:solidFill>
            </a:rPr>
            <a:t>Counselor</a:t>
          </a:r>
        </a:p>
      </dgm:t>
    </dgm:pt>
    <dgm:pt modelId="{5357A782-4AA4-4718-8F33-A7151D18ACA4}" type="parTrans" cxnId="{333EF22B-1426-4D87-A095-0FA1569ADF71}">
      <dgm:prSet/>
      <dgm:spPr/>
      <dgm:t>
        <a:bodyPr/>
        <a:lstStyle/>
        <a:p>
          <a:endParaRPr lang="en-US"/>
        </a:p>
      </dgm:t>
    </dgm:pt>
    <dgm:pt modelId="{4B62BB13-12CE-42C0-9C86-A45EF725D9E2}" type="sibTrans" cxnId="{333EF22B-1426-4D87-A095-0FA1569ADF71}">
      <dgm:prSet/>
      <dgm:spPr/>
      <dgm:t>
        <a:bodyPr/>
        <a:lstStyle/>
        <a:p>
          <a:endParaRPr lang="en-US"/>
        </a:p>
      </dgm:t>
    </dgm:pt>
    <dgm:pt modelId="{2B93744D-7D5D-4AAA-A9D4-065B183D1508}">
      <dgm:prSet/>
      <dgm:spPr/>
      <dgm:t>
        <a:bodyPr/>
        <a:lstStyle/>
        <a:p>
          <a:r>
            <a:rPr lang="en-US" dirty="0"/>
            <a:t>Associate Director of Youth Res</a:t>
          </a:r>
        </a:p>
      </dgm:t>
    </dgm:pt>
    <dgm:pt modelId="{4F12B914-2A21-4B9A-BCCA-0B4E9CFC9DBE}" type="parTrans" cxnId="{85FE2315-B69A-4ADF-AFCF-1B9EA04444BF}">
      <dgm:prSet/>
      <dgm:spPr/>
      <dgm:t>
        <a:bodyPr/>
        <a:lstStyle/>
        <a:p>
          <a:endParaRPr lang="en-US"/>
        </a:p>
      </dgm:t>
    </dgm:pt>
    <dgm:pt modelId="{C5C61659-B650-49D2-92E0-0CB04718A199}" type="sibTrans" cxnId="{85FE2315-B69A-4ADF-AFCF-1B9EA04444BF}">
      <dgm:prSet/>
      <dgm:spPr/>
      <dgm:t>
        <a:bodyPr/>
        <a:lstStyle/>
        <a:p>
          <a:endParaRPr lang="en-US"/>
        </a:p>
      </dgm:t>
    </dgm:pt>
    <dgm:pt modelId="{1C005291-6471-4DE9-8ACA-188D6EA50277}">
      <dgm:prSet/>
      <dgm:spPr/>
      <dgm:t>
        <a:bodyPr/>
        <a:lstStyle/>
        <a:p>
          <a:r>
            <a:rPr lang="en-US" dirty="0"/>
            <a:t>Associate Director of Youth Res</a:t>
          </a:r>
        </a:p>
      </dgm:t>
    </dgm:pt>
    <dgm:pt modelId="{536DBBFB-BD13-402F-8846-0A565BCC62DE}" type="parTrans" cxnId="{6A82BD8F-3CF9-42D2-A59D-DA1F1FCD6DAA}">
      <dgm:prSet/>
      <dgm:spPr/>
      <dgm:t>
        <a:bodyPr/>
        <a:lstStyle/>
        <a:p>
          <a:endParaRPr lang="en-US"/>
        </a:p>
      </dgm:t>
    </dgm:pt>
    <dgm:pt modelId="{2E6787E8-694E-4457-B054-9850889B21DA}" type="sibTrans" cxnId="{6A82BD8F-3CF9-42D2-A59D-DA1F1FCD6DAA}">
      <dgm:prSet/>
      <dgm:spPr/>
      <dgm:t>
        <a:bodyPr/>
        <a:lstStyle/>
        <a:p>
          <a:endParaRPr lang="en-US"/>
        </a:p>
      </dgm:t>
    </dgm:pt>
    <dgm:pt modelId="{DAAAF051-89F7-4FE1-9EEC-976056B64CFB}">
      <dgm:prSet/>
      <dgm:spPr/>
      <dgm:t>
        <a:bodyPr/>
        <a:lstStyle/>
        <a:p>
          <a:r>
            <a:rPr lang="en-US" dirty="0"/>
            <a:t>Weekend Supervisor</a:t>
          </a:r>
        </a:p>
      </dgm:t>
    </dgm:pt>
    <dgm:pt modelId="{5D9A5639-78F5-48AE-945F-B3918B713637}" type="parTrans" cxnId="{6016477E-9758-4E12-8BE3-BC4EBD64279D}">
      <dgm:prSet/>
      <dgm:spPr/>
      <dgm:t>
        <a:bodyPr/>
        <a:lstStyle/>
        <a:p>
          <a:endParaRPr lang="en-US"/>
        </a:p>
      </dgm:t>
    </dgm:pt>
    <dgm:pt modelId="{2E8C4EF5-00F0-49CF-AD42-CFB449D0DF6F}" type="sibTrans" cxnId="{6016477E-9758-4E12-8BE3-BC4EBD64279D}">
      <dgm:prSet/>
      <dgm:spPr/>
      <dgm:t>
        <a:bodyPr/>
        <a:lstStyle/>
        <a:p>
          <a:endParaRPr lang="en-US"/>
        </a:p>
      </dgm:t>
    </dgm:pt>
    <dgm:pt modelId="{3913C865-6E9D-4F48-B0AC-DB66360AB161}">
      <dgm:prSet/>
      <dgm:spPr/>
      <dgm:t>
        <a:bodyPr/>
        <a:lstStyle/>
        <a:p>
          <a:r>
            <a:rPr lang="en-US" dirty="0"/>
            <a:t>Overnight Supervisor</a:t>
          </a:r>
        </a:p>
      </dgm:t>
    </dgm:pt>
    <dgm:pt modelId="{B0602058-1197-4BE6-9C76-72F957B406C1}" type="parTrans" cxnId="{7C9295F3-C909-46FA-BA54-90B5D8A2D7F2}">
      <dgm:prSet/>
      <dgm:spPr/>
      <dgm:t>
        <a:bodyPr/>
        <a:lstStyle/>
        <a:p>
          <a:endParaRPr lang="en-US"/>
        </a:p>
      </dgm:t>
    </dgm:pt>
    <dgm:pt modelId="{DED608E9-13DC-40D7-918F-9A3A07B0ACFB}" type="sibTrans" cxnId="{7C9295F3-C909-46FA-BA54-90B5D8A2D7F2}">
      <dgm:prSet/>
      <dgm:spPr/>
      <dgm:t>
        <a:bodyPr/>
        <a:lstStyle/>
        <a:p>
          <a:endParaRPr lang="en-US"/>
        </a:p>
      </dgm:t>
    </dgm:pt>
    <dgm:pt modelId="{6C9AED37-C2FB-4552-A93D-FA1079737B5F}">
      <dgm:prSet/>
      <dgm:spPr/>
      <dgm:t>
        <a:bodyPr/>
        <a:lstStyle/>
        <a:p>
          <a:r>
            <a:rPr lang="en-US" dirty="0"/>
            <a:t>Asst. OVN (3)</a:t>
          </a:r>
        </a:p>
      </dgm:t>
    </dgm:pt>
    <dgm:pt modelId="{C8259F6A-5BA0-4A96-A09B-032495F6BE68}" type="parTrans" cxnId="{A09C4600-A741-4D68-B232-5BAA1200ACF9}">
      <dgm:prSet/>
      <dgm:spPr/>
      <dgm:t>
        <a:bodyPr/>
        <a:lstStyle/>
        <a:p>
          <a:endParaRPr lang="en-US"/>
        </a:p>
      </dgm:t>
    </dgm:pt>
    <dgm:pt modelId="{97020CB8-E953-4D36-9B73-3E259093ED8B}" type="sibTrans" cxnId="{A09C4600-A741-4D68-B232-5BAA1200ACF9}">
      <dgm:prSet/>
      <dgm:spPr/>
      <dgm:t>
        <a:bodyPr/>
        <a:lstStyle/>
        <a:p>
          <a:endParaRPr lang="en-US"/>
        </a:p>
      </dgm:t>
    </dgm:pt>
    <dgm:pt modelId="{29263A8B-4A11-4822-AD15-431E52FFAF13}">
      <dgm:prSet/>
      <dgm:spPr/>
      <dgm:t>
        <a:bodyPr/>
        <a:lstStyle/>
        <a:p>
          <a:r>
            <a:rPr lang="en-US" dirty="0"/>
            <a:t>Program Managers 3 residences</a:t>
          </a:r>
        </a:p>
      </dgm:t>
    </dgm:pt>
    <dgm:pt modelId="{39F3A1B3-C5AD-41EA-A377-1B5D6E2C7C40}" type="parTrans" cxnId="{A8CE5BA3-E034-4777-AA89-C02B7BC8923F}">
      <dgm:prSet/>
      <dgm:spPr/>
      <dgm:t>
        <a:bodyPr/>
        <a:lstStyle/>
        <a:p>
          <a:endParaRPr lang="en-US"/>
        </a:p>
      </dgm:t>
    </dgm:pt>
    <dgm:pt modelId="{06241E17-B881-4602-AD89-6F026FAF46C6}" type="sibTrans" cxnId="{A8CE5BA3-E034-4777-AA89-C02B7BC8923F}">
      <dgm:prSet/>
      <dgm:spPr/>
      <dgm:t>
        <a:bodyPr/>
        <a:lstStyle/>
        <a:p>
          <a:endParaRPr lang="en-US"/>
        </a:p>
      </dgm:t>
    </dgm:pt>
    <dgm:pt modelId="{405FA35C-AF76-4CA8-845A-B6D72FCFC530}">
      <dgm:prSet/>
      <dgm:spPr/>
      <dgm:t>
        <a:bodyPr/>
        <a:lstStyle/>
        <a:p>
          <a:r>
            <a:rPr lang="en-US" dirty="0"/>
            <a:t>Program Managers 3 residences</a:t>
          </a:r>
        </a:p>
      </dgm:t>
    </dgm:pt>
    <dgm:pt modelId="{C4F89973-2A75-46D8-B0A9-E7C7176B93A4}" type="parTrans" cxnId="{765CF378-6E2E-4001-AA20-7F2C637C8A48}">
      <dgm:prSet/>
      <dgm:spPr/>
      <dgm:t>
        <a:bodyPr/>
        <a:lstStyle/>
        <a:p>
          <a:endParaRPr lang="en-US"/>
        </a:p>
      </dgm:t>
    </dgm:pt>
    <dgm:pt modelId="{1284C9E1-718D-4733-A576-0BBA8649E5A2}" type="sibTrans" cxnId="{765CF378-6E2E-4001-AA20-7F2C637C8A48}">
      <dgm:prSet/>
      <dgm:spPr/>
      <dgm:t>
        <a:bodyPr/>
        <a:lstStyle/>
        <a:p>
          <a:endParaRPr lang="en-US"/>
        </a:p>
      </dgm:t>
    </dgm:pt>
    <dgm:pt modelId="{565CBF4F-A42E-4D01-A709-29D66DA69EF8}">
      <dgm:prSet custT="1"/>
      <dgm:spPr>
        <a:solidFill>
          <a:srgbClr val="A1DED2">
            <a:lumMod val="20000"/>
            <a:lumOff val="80000"/>
          </a:srgbClr>
        </a:solidFill>
        <a:ln w="25400" cap="flat" cmpd="sng" algn="ctr">
          <a:solidFill>
            <a:srgbClr val="002F87"/>
          </a:solidFill>
          <a:prstDash val="solid"/>
        </a:ln>
        <a:effectLst/>
      </dgm:spPr>
      <dgm:t>
        <a:bodyPr spcFirstLastPara="0" vert="horz" wrap="square" lIns="3810" tIns="3810" rIns="3810" bIns="3810" numCol="1" spcCol="1270" anchor="ctr" anchorCtr="0"/>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BCBA</a:t>
          </a:r>
        </a:p>
      </dgm:t>
    </dgm:pt>
    <dgm:pt modelId="{80C2768C-C89E-4743-BB39-D81F455B3E13}" type="parTrans" cxnId="{3E38BAA0-833C-4F2E-B707-FAE5E797C27D}">
      <dgm:prSet/>
      <dgm:spPr/>
      <dgm:t>
        <a:bodyPr/>
        <a:lstStyle/>
        <a:p>
          <a:endParaRPr lang="en-US"/>
        </a:p>
      </dgm:t>
    </dgm:pt>
    <dgm:pt modelId="{AE468AC4-0497-4875-B107-CE2E121249EA}" type="sibTrans" cxnId="{3E38BAA0-833C-4F2E-B707-FAE5E797C27D}">
      <dgm:prSet/>
      <dgm:spPr/>
      <dgm:t>
        <a:bodyPr/>
        <a:lstStyle/>
        <a:p>
          <a:endParaRPr lang="en-US"/>
        </a:p>
      </dgm:t>
    </dgm:pt>
    <dgm:pt modelId="{066AB86D-6301-4D7F-BD5D-1F914C195F1E}">
      <dgm:prSet custT="1"/>
      <dgm:spPr>
        <a:solidFill>
          <a:srgbClr val="A1DED2">
            <a:lumMod val="20000"/>
            <a:lumOff val="80000"/>
          </a:srgbClr>
        </a:solidFill>
        <a:ln w="25400" cap="flat" cmpd="sng" algn="ctr">
          <a:solidFill>
            <a:srgbClr val="002F87"/>
          </a:solidFill>
          <a:prstDash val="solid"/>
        </a:ln>
        <a:effectLst/>
      </dgm:spPr>
      <dgm:t>
        <a:bodyPr spcFirstLastPara="0" vert="horz" wrap="square" lIns="3810" tIns="3810" rIns="3810" bIns="3810" numCol="1" spcCol="1270" anchor="ctr" anchorCtr="0"/>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SLP</a:t>
          </a:r>
        </a:p>
      </dgm:t>
    </dgm:pt>
    <dgm:pt modelId="{D39DA097-4613-4984-9786-255E79BE2D6B}" type="parTrans" cxnId="{152D3E02-D885-4537-8993-79BC676C2E9B}">
      <dgm:prSet/>
      <dgm:spPr/>
      <dgm:t>
        <a:bodyPr/>
        <a:lstStyle/>
        <a:p>
          <a:endParaRPr lang="en-US"/>
        </a:p>
      </dgm:t>
    </dgm:pt>
    <dgm:pt modelId="{5AFB3962-8A6E-4E25-B620-6F5CC12EED37}" type="sibTrans" cxnId="{152D3E02-D885-4537-8993-79BC676C2E9B}">
      <dgm:prSet/>
      <dgm:spPr/>
      <dgm:t>
        <a:bodyPr/>
        <a:lstStyle/>
        <a:p>
          <a:endParaRPr lang="en-US"/>
        </a:p>
      </dgm:t>
    </dgm:pt>
    <dgm:pt modelId="{D2B7C597-E0CC-4804-9F07-28B1C75E77FD}">
      <dgm:prSet custT="1"/>
      <dgm:spPr>
        <a:solidFill>
          <a:srgbClr val="A1DED2">
            <a:lumMod val="20000"/>
            <a:lumOff val="80000"/>
          </a:srgbClr>
        </a:solidFill>
        <a:ln w="25400" cap="flat" cmpd="sng" algn="ctr">
          <a:solidFill>
            <a:srgbClr val="002F87"/>
          </a:solidFill>
          <a:prstDash val="solid"/>
        </a:ln>
        <a:effectLst/>
      </dgm:spPr>
      <dgm:t>
        <a:bodyPr spcFirstLastPara="0" vert="horz" wrap="square" lIns="3810" tIns="3810" rIns="3810" bIns="3810" numCol="1" spcCol="1270" anchor="ctr" anchorCtr="0"/>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OT</a:t>
          </a:r>
        </a:p>
      </dgm:t>
    </dgm:pt>
    <dgm:pt modelId="{6C4B7B2F-082D-414F-A829-F6A5F5ACF18F}" type="parTrans" cxnId="{413A164C-AC46-4A51-82B0-860DC9661F6A}">
      <dgm:prSet/>
      <dgm:spPr/>
      <dgm:t>
        <a:bodyPr/>
        <a:lstStyle/>
        <a:p>
          <a:endParaRPr lang="en-US"/>
        </a:p>
      </dgm:t>
    </dgm:pt>
    <dgm:pt modelId="{E5389AB8-FF3D-48BA-8F6A-78B91209BD47}" type="sibTrans" cxnId="{413A164C-AC46-4A51-82B0-860DC9661F6A}">
      <dgm:prSet/>
      <dgm:spPr/>
      <dgm:t>
        <a:bodyPr/>
        <a:lstStyle/>
        <a:p>
          <a:endParaRPr lang="en-US"/>
        </a:p>
      </dgm:t>
    </dgm:pt>
    <dgm:pt modelId="{5160DD23-E7DF-4F0C-996C-9BEB009EEF58}">
      <dgm:prSet custT="1"/>
      <dgm:spPr>
        <a:solidFill>
          <a:srgbClr val="A1DED2">
            <a:lumMod val="20000"/>
            <a:lumOff val="80000"/>
          </a:srgbClr>
        </a:solidFill>
        <a:ln w="25400" cap="flat" cmpd="sng" algn="ctr">
          <a:solidFill>
            <a:srgbClr val="002F87"/>
          </a:solidFill>
          <a:prstDash val="solid"/>
        </a:ln>
        <a:effectLst/>
      </dgm:spPr>
      <dgm:t>
        <a:bodyPr spcFirstLastPara="0" vert="horz" wrap="square" lIns="3810" tIns="3810" rIns="3810" bIns="3810" numCol="1" spcCol="1270" anchor="ctr" anchorCtr="0"/>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Counselor</a:t>
          </a:r>
        </a:p>
      </dgm:t>
    </dgm:pt>
    <dgm:pt modelId="{23429310-4C8D-405D-9D1B-051FAF4BD8D0}" type="parTrans" cxnId="{265F53F7-471C-4953-8C74-9D566CCA13E8}">
      <dgm:prSet/>
      <dgm:spPr/>
      <dgm:t>
        <a:bodyPr/>
        <a:lstStyle/>
        <a:p>
          <a:endParaRPr lang="en-US"/>
        </a:p>
      </dgm:t>
    </dgm:pt>
    <dgm:pt modelId="{57066DD2-3DC1-4C29-8A44-74FC207354A2}" type="sibTrans" cxnId="{265F53F7-471C-4953-8C74-9D566CCA13E8}">
      <dgm:prSet/>
      <dgm:spPr/>
      <dgm:t>
        <a:bodyPr/>
        <a:lstStyle/>
        <a:p>
          <a:endParaRPr lang="en-US"/>
        </a:p>
      </dgm:t>
    </dgm:pt>
    <dgm:pt modelId="{B32C5031-339E-4558-95D8-EF4E2639C511}">
      <dgm:prSet custT="1">
        <dgm:style>
          <a:lnRef idx="2">
            <a:schemeClr val="accent1"/>
          </a:lnRef>
          <a:fillRef idx="1">
            <a:schemeClr val="lt1"/>
          </a:fillRef>
          <a:effectRef idx="0">
            <a:schemeClr val="accent1"/>
          </a:effectRef>
          <a:fontRef idx="minor">
            <a:schemeClr val="dk1"/>
          </a:fontRef>
        </dgm:style>
      </dgm:prSet>
      <dgm:spPr>
        <a:solidFill>
          <a:srgbClr val="002F87">
            <a:hueOff val="0"/>
            <a:satOff val="0"/>
            <a:lumOff val="0"/>
            <a:alphaOff val="0"/>
          </a:srgbClr>
        </a:solidFill>
        <a:ln w="25400" cap="flat" cmpd="sng" algn="ctr">
          <a:solidFill>
            <a:srgbClr val="FFFFFF">
              <a:hueOff val="0"/>
              <a:satOff val="0"/>
              <a:lumOff val="0"/>
              <a:alphaOff val="0"/>
            </a:srgbClr>
          </a:solidFill>
          <a:prstDash val="solid"/>
        </a:ln>
        <a:effectLst/>
      </dgm:spPr>
      <dgm:t>
        <a:bodyPr spcFirstLastPara="0" vert="horz" wrap="square" lIns="3810" tIns="3810" rIns="3810" bIns="3810" numCol="1" spcCol="1270" anchor="ctr" anchorCtr="0"/>
        <a:lstStyle/>
        <a:p>
          <a:pPr marL="0" lvl="0" indent="0" algn="ctr" defTabSz="266700">
            <a:lnSpc>
              <a:spcPct val="90000"/>
            </a:lnSpc>
            <a:spcBef>
              <a:spcPct val="0"/>
            </a:spcBef>
            <a:spcAft>
              <a:spcPct val="35000"/>
            </a:spcAft>
            <a:buNone/>
          </a:pPr>
          <a:r>
            <a:rPr lang="en-US" sz="600" kern="1200" dirty="0">
              <a:solidFill>
                <a:srgbClr val="FFFFFF"/>
              </a:solidFill>
              <a:latin typeface="Century Gothic"/>
              <a:ea typeface="+mn-ea"/>
              <a:cs typeface="+mn-cs"/>
            </a:rPr>
            <a:t>Student Services Manager</a:t>
          </a:r>
        </a:p>
      </dgm:t>
    </dgm:pt>
    <dgm:pt modelId="{56CD6F77-8242-4C61-8761-EDB5B3688323}" type="parTrans" cxnId="{5A0BF4C3-C73D-4195-9511-2C96DB097820}">
      <dgm:prSet/>
      <dgm:spPr/>
      <dgm:t>
        <a:bodyPr/>
        <a:lstStyle/>
        <a:p>
          <a:endParaRPr lang="en-US"/>
        </a:p>
      </dgm:t>
    </dgm:pt>
    <dgm:pt modelId="{3D5ECA8B-E21D-4D67-94C7-256E570CA78B}" type="sibTrans" cxnId="{5A0BF4C3-C73D-4195-9511-2C96DB097820}">
      <dgm:prSet/>
      <dgm:spPr/>
      <dgm:t>
        <a:bodyPr/>
        <a:lstStyle/>
        <a:p>
          <a:endParaRPr lang="en-US"/>
        </a:p>
      </dgm:t>
    </dgm:pt>
    <dgm:pt modelId="{D9C95D2E-2D12-49ED-909B-E5AFB3DC4C7F}">
      <dgm:prSet/>
      <dgm:spPr/>
      <dgm:t>
        <a:bodyPr/>
        <a:lstStyle/>
        <a:p>
          <a:r>
            <a:rPr lang="en-US" dirty="0"/>
            <a:t>Associate Director of Youth Res</a:t>
          </a:r>
        </a:p>
      </dgm:t>
    </dgm:pt>
    <dgm:pt modelId="{3B3F7FD9-24F3-40EE-90AD-9B3191552C72}" type="parTrans" cxnId="{CE8968A5-FD22-4786-A95B-38F1CC4F9B36}">
      <dgm:prSet/>
      <dgm:spPr/>
      <dgm:t>
        <a:bodyPr/>
        <a:lstStyle/>
        <a:p>
          <a:endParaRPr lang="en-US"/>
        </a:p>
      </dgm:t>
    </dgm:pt>
    <dgm:pt modelId="{E807DB60-EB66-4A7B-BE3B-2A740E7A7275}" type="sibTrans" cxnId="{CE8968A5-FD22-4786-A95B-38F1CC4F9B36}">
      <dgm:prSet/>
      <dgm:spPr/>
      <dgm:t>
        <a:bodyPr/>
        <a:lstStyle/>
        <a:p>
          <a:endParaRPr lang="en-US"/>
        </a:p>
      </dgm:t>
    </dgm:pt>
    <dgm:pt modelId="{283E75D2-C697-498B-9374-5DD228294AD0}">
      <dgm:prSet/>
      <dgm:spPr/>
      <dgm:t>
        <a:bodyPr/>
        <a:lstStyle/>
        <a:p>
          <a:r>
            <a:rPr lang="en-US" dirty="0"/>
            <a:t>Program Managers 3 residences</a:t>
          </a:r>
        </a:p>
      </dgm:t>
    </dgm:pt>
    <dgm:pt modelId="{A47EA622-8F64-4451-9F7C-9058C92CEE9F}" type="parTrans" cxnId="{8DF6053F-2D25-4423-8A6E-BF9152279F17}">
      <dgm:prSet/>
      <dgm:spPr/>
      <dgm:t>
        <a:bodyPr/>
        <a:lstStyle/>
        <a:p>
          <a:endParaRPr lang="en-US"/>
        </a:p>
      </dgm:t>
    </dgm:pt>
    <dgm:pt modelId="{C1551ABE-84CF-49EF-B067-52EC56FA3303}" type="sibTrans" cxnId="{8DF6053F-2D25-4423-8A6E-BF9152279F17}">
      <dgm:prSet/>
      <dgm:spPr/>
      <dgm:t>
        <a:bodyPr/>
        <a:lstStyle/>
        <a:p>
          <a:endParaRPr lang="en-US"/>
        </a:p>
      </dgm:t>
    </dgm:pt>
    <dgm:pt modelId="{532F9ECB-B736-4ABE-AA96-68344E17FE93}">
      <dgm:prSet/>
      <dgm:spPr/>
      <dgm:t>
        <a:bodyPr/>
        <a:lstStyle/>
        <a:p>
          <a:r>
            <a:rPr lang="en-US"/>
            <a:t>Res. Support Specialists (2)</a:t>
          </a:r>
          <a:endParaRPr lang="en-US" dirty="0"/>
        </a:p>
      </dgm:t>
    </dgm:pt>
    <dgm:pt modelId="{F1E12D5F-05C0-4CA4-8321-EF45EE4C53B6}" type="parTrans" cxnId="{5CD88636-654B-48A2-81D4-A553EE66ABC6}">
      <dgm:prSet/>
      <dgm:spPr/>
      <dgm:t>
        <a:bodyPr/>
        <a:lstStyle/>
        <a:p>
          <a:endParaRPr lang="en-US"/>
        </a:p>
      </dgm:t>
    </dgm:pt>
    <dgm:pt modelId="{1F82CBCA-B966-44EB-9672-662AD106BF77}" type="sibTrans" cxnId="{5CD88636-654B-48A2-81D4-A553EE66ABC6}">
      <dgm:prSet/>
      <dgm:spPr/>
      <dgm:t>
        <a:bodyPr/>
        <a:lstStyle/>
        <a:p>
          <a:endParaRPr lang="en-US"/>
        </a:p>
      </dgm:t>
    </dgm:pt>
    <dgm:pt modelId="{03469359-AFA7-4A93-BBD2-DF4E33A29FC9}">
      <dgm:prSet/>
      <dgm:spPr/>
      <dgm:t>
        <a:bodyPr/>
        <a:lstStyle/>
        <a:p>
          <a:r>
            <a:rPr lang="en-US" dirty="0"/>
            <a:t>Wknd. BCBA</a:t>
          </a:r>
        </a:p>
      </dgm:t>
    </dgm:pt>
    <dgm:pt modelId="{D309BC98-6817-470C-834D-F60C0E6C6A98}" type="parTrans" cxnId="{1F08D1D3-487A-457C-91C6-923B35985BE1}">
      <dgm:prSet/>
      <dgm:spPr/>
      <dgm:t>
        <a:bodyPr/>
        <a:lstStyle/>
        <a:p>
          <a:endParaRPr lang="en-US"/>
        </a:p>
      </dgm:t>
    </dgm:pt>
    <dgm:pt modelId="{C207DC16-F270-4291-9E17-05E846B54FBC}" type="sibTrans" cxnId="{1F08D1D3-487A-457C-91C6-923B35985BE1}">
      <dgm:prSet/>
      <dgm:spPr/>
      <dgm:t>
        <a:bodyPr/>
        <a:lstStyle/>
        <a:p>
          <a:endParaRPr lang="en-US"/>
        </a:p>
      </dgm:t>
    </dgm:pt>
    <dgm:pt modelId="{21DFCF00-BA3A-442D-A302-E8B9B273D4D7}" type="pres">
      <dgm:prSet presAssocID="{0FE97F07-166E-4646-8F3F-713BE98FF8D3}" presName="hierChild1" presStyleCnt="0">
        <dgm:presLayoutVars>
          <dgm:orgChart val="1"/>
          <dgm:chPref val="1"/>
          <dgm:dir/>
          <dgm:animOne val="branch"/>
          <dgm:animLvl val="lvl"/>
          <dgm:resizeHandles/>
        </dgm:presLayoutVars>
      </dgm:prSet>
      <dgm:spPr/>
    </dgm:pt>
    <dgm:pt modelId="{B1A764D9-D96A-4B53-B856-AEF52D45A3BA}" type="pres">
      <dgm:prSet presAssocID="{06002B94-D09E-435C-A5F9-59D3BEF8FC71}" presName="hierRoot1" presStyleCnt="0">
        <dgm:presLayoutVars>
          <dgm:hierBranch/>
        </dgm:presLayoutVars>
      </dgm:prSet>
      <dgm:spPr/>
    </dgm:pt>
    <dgm:pt modelId="{B4B8F1AC-A107-4950-B735-168B3D8CC895}" type="pres">
      <dgm:prSet presAssocID="{06002B94-D09E-435C-A5F9-59D3BEF8FC71}" presName="rootComposite1" presStyleCnt="0"/>
      <dgm:spPr/>
    </dgm:pt>
    <dgm:pt modelId="{B38EFBAE-F24D-4607-8056-41FD753C7A0D}" type="pres">
      <dgm:prSet presAssocID="{06002B94-D09E-435C-A5F9-59D3BEF8FC71}" presName="rootText1" presStyleLbl="node0" presStyleIdx="0" presStyleCnt="1" custLinFactNeighborX="369" custLinFactNeighborY="2337">
        <dgm:presLayoutVars>
          <dgm:chPref val="3"/>
        </dgm:presLayoutVars>
      </dgm:prSet>
      <dgm:spPr/>
    </dgm:pt>
    <dgm:pt modelId="{9F3F7C96-9EB6-4B0C-996D-E8AFB782C371}" type="pres">
      <dgm:prSet presAssocID="{06002B94-D09E-435C-A5F9-59D3BEF8FC71}" presName="rootConnector1" presStyleLbl="node1" presStyleIdx="0" presStyleCnt="0"/>
      <dgm:spPr/>
    </dgm:pt>
    <dgm:pt modelId="{739FC934-DA7E-4472-AEA5-FF44FCFB5313}" type="pres">
      <dgm:prSet presAssocID="{06002B94-D09E-435C-A5F9-59D3BEF8FC71}" presName="hierChild2" presStyleCnt="0"/>
      <dgm:spPr/>
    </dgm:pt>
    <dgm:pt modelId="{E7FF7D13-8AA9-47C3-8255-D3D861631748}" type="pres">
      <dgm:prSet presAssocID="{BE5A2021-5D71-4F6D-9B0F-CEFD2D18CB1F}" presName="Name35" presStyleLbl="parChTrans1D2" presStyleIdx="0" presStyleCnt="1"/>
      <dgm:spPr/>
    </dgm:pt>
    <dgm:pt modelId="{70B04D6F-66A9-4FDE-AB32-DAD3550F22D3}" type="pres">
      <dgm:prSet presAssocID="{58135677-0A81-4361-B9C9-A005F11157E4}" presName="hierRoot2" presStyleCnt="0">
        <dgm:presLayoutVars>
          <dgm:hierBranch/>
        </dgm:presLayoutVars>
      </dgm:prSet>
      <dgm:spPr/>
    </dgm:pt>
    <dgm:pt modelId="{FE44CBEE-EA0D-4D1C-B742-153A38EF3A6D}" type="pres">
      <dgm:prSet presAssocID="{58135677-0A81-4361-B9C9-A005F11157E4}" presName="rootComposite" presStyleCnt="0"/>
      <dgm:spPr/>
    </dgm:pt>
    <dgm:pt modelId="{5C13A3CF-5101-4405-863A-A3E2CCBB22AB}" type="pres">
      <dgm:prSet presAssocID="{58135677-0A81-4361-B9C9-A005F11157E4}" presName="rootText" presStyleLbl="node2" presStyleIdx="0" presStyleCnt="1" custLinFactNeighborX="824">
        <dgm:presLayoutVars>
          <dgm:chPref val="3"/>
        </dgm:presLayoutVars>
      </dgm:prSet>
      <dgm:spPr/>
    </dgm:pt>
    <dgm:pt modelId="{9A1EC101-B2CE-405F-9790-44F992781CFD}" type="pres">
      <dgm:prSet presAssocID="{58135677-0A81-4361-B9C9-A005F11157E4}" presName="rootConnector" presStyleLbl="node2" presStyleIdx="0" presStyleCnt="1"/>
      <dgm:spPr/>
    </dgm:pt>
    <dgm:pt modelId="{AD9984FC-7F99-4311-B933-77886C628D45}" type="pres">
      <dgm:prSet presAssocID="{58135677-0A81-4361-B9C9-A005F11157E4}" presName="hierChild4" presStyleCnt="0"/>
      <dgm:spPr/>
    </dgm:pt>
    <dgm:pt modelId="{00ED9990-A0CC-4608-9427-1ECE9162B7E7}" type="pres">
      <dgm:prSet presAssocID="{24DEFE67-353B-4E4C-BB64-48170CA6D166}" presName="Name35" presStyleLbl="parChTrans1D3" presStyleIdx="0" presStyleCnt="7"/>
      <dgm:spPr/>
    </dgm:pt>
    <dgm:pt modelId="{9AE9DF00-383B-4713-BA68-B54DBAA73515}" type="pres">
      <dgm:prSet presAssocID="{1C5ED702-6D00-4A1D-9C7A-436C60845140}" presName="hierRoot2" presStyleCnt="0">
        <dgm:presLayoutVars>
          <dgm:hierBranch/>
        </dgm:presLayoutVars>
      </dgm:prSet>
      <dgm:spPr/>
    </dgm:pt>
    <dgm:pt modelId="{202DCB8C-26F2-4987-9911-77C3BD2E403A}" type="pres">
      <dgm:prSet presAssocID="{1C5ED702-6D00-4A1D-9C7A-436C60845140}" presName="rootComposite" presStyleCnt="0"/>
      <dgm:spPr/>
    </dgm:pt>
    <dgm:pt modelId="{8CC729E0-048C-4A38-B2A1-88086D3534AD}" type="pres">
      <dgm:prSet presAssocID="{1C5ED702-6D00-4A1D-9C7A-436C60845140}" presName="rootText" presStyleLbl="node3" presStyleIdx="0" presStyleCnt="7">
        <dgm:presLayoutVars>
          <dgm:chPref val="3"/>
        </dgm:presLayoutVars>
      </dgm:prSet>
      <dgm:spPr/>
    </dgm:pt>
    <dgm:pt modelId="{ABBEBFB4-6AC5-4350-B24F-31FE8D5C42C9}" type="pres">
      <dgm:prSet presAssocID="{1C5ED702-6D00-4A1D-9C7A-436C60845140}" presName="rootConnector" presStyleLbl="node3" presStyleIdx="0" presStyleCnt="7"/>
      <dgm:spPr/>
    </dgm:pt>
    <dgm:pt modelId="{39F5A7BD-C401-4946-8E8D-DC7CC7B34B77}" type="pres">
      <dgm:prSet presAssocID="{1C5ED702-6D00-4A1D-9C7A-436C60845140}" presName="hierChild4" presStyleCnt="0"/>
      <dgm:spPr/>
    </dgm:pt>
    <dgm:pt modelId="{2D643B93-8C2C-43F5-B745-79C7E0F0F249}" type="pres">
      <dgm:prSet presAssocID="{D309BC98-6817-470C-834D-F60C0E6C6A98}" presName="Name35" presStyleLbl="parChTrans1D4" presStyleIdx="0" presStyleCnt="21"/>
      <dgm:spPr/>
    </dgm:pt>
    <dgm:pt modelId="{25A413EA-0C6F-4A45-8A7D-4C5C50DD2F2C}" type="pres">
      <dgm:prSet presAssocID="{03469359-AFA7-4A93-BBD2-DF4E33A29FC9}" presName="hierRoot2" presStyleCnt="0">
        <dgm:presLayoutVars>
          <dgm:hierBranch val="init"/>
        </dgm:presLayoutVars>
      </dgm:prSet>
      <dgm:spPr/>
    </dgm:pt>
    <dgm:pt modelId="{C3131C40-8FA8-4F34-800B-3C5F21BEC513}" type="pres">
      <dgm:prSet presAssocID="{03469359-AFA7-4A93-BBD2-DF4E33A29FC9}" presName="rootComposite" presStyleCnt="0"/>
      <dgm:spPr/>
    </dgm:pt>
    <dgm:pt modelId="{CA5243E6-FBF9-46A3-87A8-AA20927F9878}" type="pres">
      <dgm:prSet presAssocID="{03469359-AFA7-4A93-BBD2-DF4E33A29FC9}" presName="rootText" presStyleLbl="node4" presStyleIdx="0" presStyleCnt="21">
        <dgm:presLayoutVars>
          <dgm:chPref val="3"/>
        </dgm:presLayoutVars>
      </dgm:prSet>
      <dgm:spPr/>
    </dgm:pt>
    <dgm:pt modelId="{3A31735B-831C-48B7-AC71-90B960240A14}" type="pres">
      <dgm:prSet presAssocID="{03469359-AFA7-4A93-BBD2-DF4E33A29FC9}" presName="rootConnector" presStyleLbl="node4" presStyleIdx="0" presStyleCnt="21"/>
      <dgm:spPr/>
    </dgm:pt>
    <dgm:pt modelId="{5797DB53-BADB-45DA-B892-E733A69EB4BE}" type="pres">
      <dgm:prSet presAssocID="{03469359-AFA7-4A93-BBD2-DF4E33A29FC9}" presName="hierChild4" presStyleCnt="0"/>
      <dgm:spPr/>
    </dgm:pt>
    <dgm:pt modelId="{AF385D49-A9F2-46CE-BED3-7DA2FBA1DF64}" type="pres">
      <dgm:prSet presAssocID="{03469359-AFA7-4A93-BBD2-DF4E33A29FC9}" presName="hierChild5" presStyleCnt="0"/>
      <dgm:spPr/>
    </dgm:pt>
    <dgm:pt modelId="{DC3008FE-CD19-456A-A01A-50749EF77492}" type="pres">
      <dgm:prSet presAssocID="{56CD6F77-8242-4C61-8761-EDB5B3688323}" presName="Name35" presStyleLbl="parChTrans1D4" presStyleIdx="1" presStyleCnt="21"/>
      <dgm:spPr/>
    </dgm:pt>
    <dgm:pt modelId="{BB837113-FFD5-4549-971F-A30DFE8059D2}" type="pres">
      <dgm:prSet presAssocID="{B32C5031-339E-4558-95D8-EF4E2639C511}" presName="hierRoot2" presStyleCnt="0">
        <dgm:presLayoutVars>
          <dgm:hierBranch val="init"/>
        </dgm:presLayoutVars>
      </dgm:prSet>
      <dgm:spPr/>
    </dgm:pt>
    <dgm:pt modelId="{E8B7A54B-35A7-42FA-86B7-B264C2A8C615}" type="pres">
      <dgm:prSet presAssocID="{B32C5031-339E-4558-95D8-EF4E2639C511}" presName="rootComposite" presStyleCnt="0"/>
      <dgm:spPr/>
    </dgm:pt>
    <dgm:pt modelId="{FF662F56-BB04-4B25-A305-7C6DAE5E6114}" type="pres">
      <dgm:prSet presAssocID="{B32C5031-339E-4558-95D8-EF4E2639C511}" presName="rootText" presStyleLbl="node4" presStyleIdx="1" presStyleCnt="21">
        <dgm:presLayoutVars>
          <dgm:chPref val="3"/>
        </dgm:presLayoutVars>
      </dgm:prSet>
      <dgm:spPr>
        <a:xfrm>
          <a:off x="1287215" y="1793301"/>
          <a:ext cx="841101" cy="420550"/>
        </a:xfrm>
        <a:prstGeom prst="rect">
          <a:avLst/>
        </a:prstGeom>
      </dgm:spPr>
    </dgm:pt>
    <dgm:pt modelId="{91EFCB46-D98F-4C8F-9467-19EBCCBD9767}" type="pres">
      <dgm:prSet presAssocID="{B32C5031-339E-4558-95D8-EF4E2639C511}" presName="rootConnector" presStyleLbl="node4" presStyleIdx="1" presStyleCnt="21"/>
      <dgm:spPr/>
    </dgm:pt>
    <dgm:pt modelId="{F5349DFB-05EE-461C-8766-0C9B46F5184C}" type="pres">
      <dgm:prSet presAssocID="{B32C5031-339E-4558-95D8-EF4E2639C511}" presName="hierChild4" presStyleCnt="0"/>
      <dgm:spPr/>
    </dgm:pt>
    <dgm:pt modelId="{79D3168F-94EA-4BB6-9713-713865DF7BF2}" type="pres">
      <dgm:prSet presAssocID="{B32C5031-339E-4558-95D8-EF4E2639C511}" presName="hierChild5" presStyleCnt="0"/>
      <dgm:spPr/>
    </dgm:pt>
    <dgm:pt modelId="{24067E5A-491A-4221-9208-DC9724217A52}" type="pres">
      <dgm:prSet presAssocID="{FE922007-D0EF-49DB-B0DC-7D5928EC21F1}" presName="Name35" presStyleLbl="parChTrans1D4" presStyleIdx="2" presStyleCnt="21"/>
      <dgm:spPr/>
    </dgm:pt>
    <dgm:pt modelId="{514619AC-B3A7-47B6-BE42-B7E50710CD67}" type="pres">
      <dgm:prSet presAssocID="{5C7BC345-B12F-49C2-87CA-37D3378B1C6C}" presName="hierRoot2" presStyleCnt="0">
        <dgm:presLayoutVars>
          <dgm:hierBranch val="init"/>
        </dgm:presLayoutVars>
      </dgm:prSet>
      <dgm:spPr/>
    </dgm:pt>
    <dgm:pt modelId="{9858EAE4-4342-4872-BD41-BE13DF2D7D80}" type="pres">
      <dgm:prSet presAssocID="{5C7BC345-B12F-49C2-87CA-37D3378B1C6C}" presName="rootComposite" presStyleCnt="0"/>
      <dgm:spPr/>
    </dgm:pt>
    <dgm:pt modelId="{BD892431-E279-4FAF-BD13-E4A4FBEEACAC}" type="pres">
      <dgm:prSet presAssocID="{5C7BC345-B12F-49C2-87CA-37D3378B1C6C}" presName="rootText" presStyleLbl="node4" presStyleIdx="2" presStyleCnt="21" custLinFactNeighborX="1920" custLinFactNeighborY="5760">
        <dgm:presLayoutVars>
          <dgm:chPref val="3"/>
        </dgm:presLayoutVars>
      </dgm:prSet>
      <dgm:spPr/>
    </dgm:pt>
    <dgm:pt modelId="{EECD4322-B1C1-4625-BE92-0544D012A0A1}" type="pres">
      <dgm:prSet presAssocID="{5C7BC345-B12F-49C2-87CA-37D3378B1C6C}" presName="rootConnector" presStyleLbl="node4" presStyleIdx="2" presStyleCnt="21"/>
      <dgm:spPr/>
    </dgm:pt>
    <dgm:pt modelId="{40074E54-F20F-4F18-8D53-AC1FB38C47AB}" type="pres">
      <dgm:prSet presAssocID="{5C7BC345-B12F-49C2-87CA-37D3378B1C6C}" presName="hierChild4" presStyleCnt="0"/>
      <dgm:spPr/>
    </dgm:pt>
    <dgm:pt modelId="{EDC30AD0-1BF1-49DE-BBBF-050125F44676}" type="pres">
      <dgm:prSet presAssocID="{1EDBB388-C7ED-4F47-AFA1-49017C082704}" presName="Name37" presStyleLbl="parChTrans1D4" presStyleIdx="3" presStyleCnt="21"/>
      <dgm:spPr/>
    </dgm:pt>
    <dgm:pt modelId="{C00426F8-C4EA-403B-A7C7-66389DE7C020}" type="pres">
      <dgm:prSet presAssocID="{2CB46D88-A37E-4B7C-A4D0-EE01A2D063D2}" presName="hierRoot2" presStyleCnt="0">
        <dgm:presLayoutVars>
          <dgm:hierBranch val="init"/>
        </dgm:presLayoutVars>
      </dgm:prSet>
      <dgm:spPr/>
    </dgm:pt>
    <dgm:pt modelId="{E2079A0E-07B2-4814-BAA1-05D424AF974D}" type="pres">
      <dgm:prSet presAssocID="{2CB46D88-A37E-4B7C-A4D0-EE01A2D063D2}" presName="rootComposite" presStyleCnt="0"/>
      <dgm:spPr/>
    </dgm:pt>
    <dgm:pt modelId="{BB9456C3-1730-4153-BAC1-76A7B7DE168E}" type="pres">
      <dgm:prSet presAssocID="{2CB46D88-A37E-4B7C-A4D0-EE01A2D063D2}" presName="rootText" presStyleLbl="node4" presStyleIdx="3" presStyleCnt="21" custLinFactNeighborX="172">
        <dgm:presLayoutVars>
          <dgm:chPref val="3"/>
        </dgm:presLayoutVars>
      </dgm:prSet>
      <dgm:spPr/>
    </dgm:pt>
    <dgm:pt modelId="{D985CD73-610D-4AD1-8D26-E8075C757933}" type="pres">
      <dgm:prSet presAssocID="{2CB46D88-A37E-4B7C-A4D0-EE01A2D063D2}" presName="rootConnector" presStyleLbl="node4" presStyleIdx="3" presStyleCnt="21"/>
      <dgm:spPr/>
    </dgm:pt>
    <dgm:pt modelId="{776739EA-94A8-4BA1-8A7D-D2BAD551EAC8}" type="pres">
      <dgm:prSet presAssocID="{2CB46D88-A37E-4B7C-A4D0-EE01A2D063D2}" presName="hierChild4" presStyleCnt="0"/>
      <dgm:spPr/>
    </dgm:pt>
    <dgm:pt modelId="{71E9045E-A50F-4180-BC82-766575B588A1}" type="pres">
      <dgm:prSet presAssocID="{2CB46D88-A37E-4B7C-A4D0-EE01A2D063D2}" presName="hierChild5" presStyleCnt="0"/>
      <dgm:spPr/>
    </dgm:pt>
    <dgm:pt modelId="{05FA96D6-E130-46C9-A75C-1D864AAA16EB}" type="pres">
      <dgm:prSet presAssocID="{60819F5D-1058-4309-8330-F01818CD4500}" presName="Name37" presStyleLbl="parChTrans1D4" presStyleIdx="4" presStyleCnt="21"/>
      <dgm:spPr/>
    </dgm:pt>
    <dgm:pt modelId="{1FFA1B56-3A58-4294-B7A8-843351052266}" type="pres">
      <dgm:prSet presAssocID="{607D7892-2569-4A31-BE0E-822482C37F3D}" presName="hierRoot2" presStyleCnt="0">
        <dgm:presLayoutVars>
          <dgm:hierBranch val="init"/>
        </dgm:presLayoutVars>
      </dgm:prSet>
      <dgm:spPr/>
    </dgm:pt>
    <dgm:pt modelId="{1F83E78C-65D8-44F0-9647-A24A377A005D}" type="pres">
      <dgm:prSet presAssocID="{607D7892-2569-4A31-BE0E-822482C37F3D}" presName="rootComposite" presStyleCnt="0"/>
      <dgm:spPr/>
    </dgm:pt>
    <dgm:pt modelId="{D133B60E-B11D-41E6-983D-AFA56DD8A857}" type="pres">
      <dgm:prSet presAssocID="{607D7892-2569-4A31-BE0E-822482C37F3D}" presName="rootText" presStyleLbl="node4" presStyleIdx="4" presStyleCnt="21">
        <dgm:presLayoutVars>
          <dgm:chPref val="3"/>
        </dgm:presLayoutVars>
      </dgm:prSet>
      <dgm:spPr/>
    </dgm:pt>
    <dgm:pt modelId="{B28B4B3E-A788-4769-AA87-46CAA76CAEA8}" type="pres">
      <dgm:prSet presAssocID="{607D7892-2569-4A31-BE0E-822482C37F3D}" presName="rootConnector" presStyleLbl="node4" presStyleIdx="4" presStyleCnt="21"/>
      <dgm:spPr/>
    </dgm:pt>
    <dgm:pt modelId="{25C3E81D-C8ED-4BB0-873B-E42E10C83789}" type="pres">
      <dgm:prSet presAssocID="{607D7892-2569-4A31-BE0E-822482C37F3D}" presName="hierChild4" presStyleCnt="0"/>
      <dgm:spPr/>
    </dgm:pt>
    <dgm:pt modelId="{504E5852-2BA3-4452-823B-0322A9B114FD}" type="pres">
      <dgm:prSet presAssocID="{607D7892-2569-4A31-BE0E-822482C37F3D}" presName="hierChild5" presStyleCnt="0"/>
      <dgm:spPr/>
    </dgm:pt>
    <dgm:pt modelId="{14BD35A4-B0E3-4085-9410-A46734042A6B}" type="pres">
      <dgm:prSet presAssocID="{627B2C3E-2E5E-42E2-9BF9-31A8B335D95D}" presName="Name37" presStyleLbl="parChTrans1D4" presStyleIdx="5" presStyleCnt="21"/>
      <dgm:spPr/>
    </dgm:pt>
    <dgm:pt modelId="{C8CF69BD-3932-49E8-BEB1-AD43D1DA8063}" type="pres">
      <dgm:prSet presAssocID="{401115A0-4D38-46A8-B3C5-D7E892CAAD5B}" presName="hierRoot2" presStyleCnt="0">
        <dgm:presLayoutVars>
          <dgm:hierBranch val="init"/>
        </dgm:presLayoutVars>
      </dgm:prSet>
      <dgm:spPr/>
    </dgm:pt>
    <dgm:pt modelId="{8FBC3B11-A3EC-462F-8136-217CA71E988F}" type="pres">
      <dgm:prSet presAssocID="{401115A0-4D38-46A8-B3C5-D7E892CAAD5B}" presName="rootComposite" presStyleCnt="0"/>
      <dgm:spPr/>
    </dgm:pt>
    <dgm:pt modelId="{6D9C4384-C201-400C-9F66-F43E8A6B3EBC}" type="pres">
      <dgm:prSet presAssocID="{401115A0-4D38-46A8-B3C5-D7E892CAAD5B}" presName="rootText" presStyleLbl="node4" presStyleIdx="5" presStyleCnt="21" custLinFactNeighborX="172">
        <dgm:presLayoutVars>
          <dgm:chPref val="3"/>
        </dgm:presLayoutVars>
      </dgm:prSet>
      <dgm:spPr/>
    </dgm:pt>
    <dgm:pt modelId="{1FB57A76-326D-4FDB-B50C-BD51CD959EAF}" type="pres">
      <dgm:prSet presAssocID="{401115A0-4D38-46A8-B3C5-D7E892CAAD5B}" presName="rootConnector" presStyleLbl="node4" presStyleIdx="5" presStyleCnt="21"/>
      <dgm:spPr/>
    </dgm:pt>
    <dgm:pt modelId="{EA323722-946D-4EFD-814B-9C56AF6E111E}" type="pres">
      <dgm:prSet presAssocID="{401115A0-4D38-46A8-B3C5-D7E892CAAD5B}" presName="hierChild4" presStyleCnt="0"/>
      <dgm:spPr/>
    </dgm:pt>
    <dgm:pt modelId="{17B1FE9D-E367-4717-87B2-F8E962169158}" type="pres">
      <dgm:prSet presAssocID="{401115A0-4D38-46A8-B3C5-D7E892CAAD5B}" presName="hierChild5" presStyleCnt="0"/>
      <dgm:spPr/>
    </dgm:pt>
    <dgm:pt modelId="{4B73B73B-8152-4B3B-B8D1-8B79DD44CD90}" type="pres">
      <dgm:prSet presAssocID="{C040A107-5400-476F-9196-289C01A5ECAB}" presName="Name37" presStyleLbl="parChTrans1D4" presStyleIdx="6" presStyleCnt="21"/>
      <dgm:spPr/>
    </dgm:pt>
    <dgm:pt modelId="{2BAB9F0A-B704-4518-A0A5-C9F5DEB6F87C}" type="pres">
      <dgm:prSet presAssocID="{33A68A52-6159-4DAE-B33E-2FF719C49558}" presName="hierRoot2" presStyleCnt="0">
        <dgm:presLayoutVars>
          <dgm:hierBranch val="init"/>
        </dgm:presLayoutVars>
      </dgm:prSet>
      <dgm:spPr/>
    </dgm:pt>
    <dgm:pt modelId="{648A1259-CC8C-42DF-A646-BDC337189DA0}" type="pres">
      <dgm:prSet presAssocID="{33A68A52-6159-4DAE-B33E-2FF719C49558}" presName="rootComposite" presStyleCnt="0"/>
      <dgm:spPr/>
    </dgm:pt>
    <dgm:pt modelId="{E5A8D694-AD1C-4826-86E7-9D6DCB9E1BCF}" type="pres">
      <dgm:prSet presAssocID="{33A68A52-6159-4DAE-B33E-2FF719C49558}" presName="rootText" presStyleLbl="node4" presStyleIdx="6" presStyleCnt="21">
        <dgm:presLayoutVars>
          <dgm:chPref val="3"/>
        </dgm:presLayoutVars>
      </dgm:prSet>
      <dgm:spPr/>
    </dgm:pt>
    <dgm:pt modelId="{002AD001-EA03-4060-AE4E-EED9B0E8E8C5}" type="pres">
      <dgm:prSet presAssocID="{33A68A52-6159-4DAE-B33E-2FF719C49558}" presName="rootConnector" presStyleLbl="node4" presStyleIdx="6" presStyleCnt="21"/>
      <dgm:spPr/>
    </dgm:pt>
    <dgm:pt modelId="{7E48F70D-41BC-4DE4-8A7A-20A2C381768B}" type="pres">
      <dgm:prSet presAssocID="{33A68A52-6159-4DAE-B33E-2FF719C49558}" presName="hierChild4" presStyleCnt="0"/>
      <dgm:spPr/>
    </dgm:pt>
    <dgm:pt modelId="{2D8D326B-AAEF-4748-B3C1-13C7E925496C}" type="pres">
      <dgm:prSet presAssocID="{33A68A52-6159-4DAE-B33E-2FF719C49558}" presName="hierChild5" presStyleCnt="0"/>
      <dgm:spPr/>
    </dgm:pt>
    <dgm:pt modelId="{C7328AD3-2368-47D8-B7B4-D0E18EB0058C}" type="pres">
      <dgm:prSet presAssocID="{5C7BC345-B12F-49C2-87CA-37D3378B1C6C}" presName="hierChild5" presStyleCnt="0"/>
      <dgm:spPr/>
    </dgm:pt>
    <dgm:pt modelId="{BB2AB050-A336-4CBA-B88A-568BBE74D817}" type="pres">
      <dgm:prSet presAssocID="{FDC28D2D-E716-40BA-A482-2A6FA920FE7F}" presName="Name35" presStyleLbl="parChTrans1D4" presStyleIdx="7" presStyleCnt="21"/>
      <dgm:spPr/>
    </dgm:pt>
    <dgm:pt modelId="{AA4930E1-9369-439B-A2B1-161B929BBF83}" type="pres">
      <dgm:prSet presAssocID="{F44A1BDD-EE53-4FA6-A4D3-0B829201FF10}" presName="hierRoot2" presStyleCnt="0">
        <dgm:presLayoutVars>
          <dgm:hierBranch val="init"/>
        </dgm:presLayoutVars>
      </dgm:prSet>
      <dgm:spPr/>
    </dgm:pt>
    <dgm:pt modelId="{3BE4C1CE-8A28-4E1A-B65D-BA0CB6A2A7F0}" type="pres">
      <dgm:prSet presAssocID="{F44A1BDD-EE53-4FA6-A4D3-0B829201FF10}" presName="rootComposite" presStyleCnt="0"/>
      <dgm:spPr/>
    </dgm:pt>
    <dgm:pt modelId="{E5C5F92F-6F25-462F-AF8F-6112574BA167}" type="pres">
      <dgm:prSet presAssocID="{F44A1BDD-EE53-4FA6-A4D3-0B829201FF10}" presName="rootText" presStyleLbl="node4" presStyleIdx="7" presStyleCnt="21" custLinFactNeighborX="1920" custLinFactNeighborY="5760">
        <dgm:presLayoutVars>
          <dgm:chPref val="3"/>
        </dgm:presLayoutVars>
      </dgm:prSet>
      <dgm:spPr/>
    </dgm:pt>
    <dgm:pt modelId="{DF5D379C-685C-4EFA-A4EF-BCD9612D0EB7}" type="pres">
      <dgm:prSet presAssocID="{F44A1BDD-EE53-4FA6-A4D3-0B829201FF10}" presName="rootConnector" presStyleLbl="node4" presStyleIdx="7" presStyleCnt="21"/>
      <dgm:spPr/>
    </dgm:pt>
    <dgm:pt modelId="{4F4981CB-24DE-4427-865E-B9A4E6F516D4}" type="pres">
      <dgm:prSet presAssocID="{F44A1BDD-EE53-4FA6-A4D3-0B829201FF10}" presName="hierChild4" presStyleCnt="0"/>
      <dgm:spPr/>
    </dgm:pt>
    <dgm:pt modelId="{74AB3598-72BD-488E-B783-ED7130A6023F}" type="pres">
      <dgm:prSet presAssocID="{259E44B6-650C-464D-A315-0E0EC8C2618D}" presName="Name37" presStyleLbl="parChTrans1D4" presStyleIdx="8" presStyleCnt="21"/>
      <dgm:spPr/>
    </dgm:pt>
    <dgm:pt modelId="{CB89603D-24E2-4CCE-A7BD-7B81E846CC76}" type="pres">
      <dgm:prSet presAssocID="{1A09EF79-2F34-4D48-9D45-887EDCC7FCA1}" presName="hierRoot2" presStyleCnt="0">
        <dgm:presLayoutVars>
          <dgm:hierBranch val="init"/>
        </dgm:presLayoutVars>
      </dgm:prSet>
      <dgm:spPr/>
    </dgm:pt>
    <dgm:pt modelId="{5743994A-AC0C-49DC-A39B-B035EB79F261}" type="pres">
      <dgm:prSet presAssocID="{1A09EF79-2F34-4D48-9D45-887EDCC7FCA1}" presName="rootComposite" presStyleCnt="0"/>
      <dgm:spPr/>
    </dgm:pt>
    <dgm:pt modelId="{9BF330ED-773F-45AE-BFF2-2A9E6324428E}" type="pres">
      <dgm:prSet presAssocID="{1A09EF79-2F34-4D48-9D45-887EDCC7FCA1}" presName="rootText" presStyleLbl="node4" presStyleIdx="8" presStyleCnt="21" custLinFactNeighborX="172">
        <dgm:presLayoutVars>
          <dgm:chPref val="3"/>
        </dgm:presLayoutVars>
      </dgm:prSet>
      <dgm:spPr/>
    </dgm:pt>
    <dgm:pt modelId="{167A7ED0-4FDF-40D2-91CA-2E110C90DA5F}" type="pres">
      <dgm:prSet presAssocID="{1A09EF79-2F34-4D48-9D45-887EDCC7FCA1}" presName="rootConnector" presStyleLbl="node4" presStyleIdx="8" presStyleCnt="21"/>
      <dgm:spPr/>
    </dgm:pt>
    <dgm:pt modelId="{F52BD14E-5C91-4741-9F34-FD1EFB26B783}" type="pres">
      <dgm:prSet presAssocID="{1A09EF79-2F34-4D48-9D45-887EDCC7FCA1}" presName="hierChild4" presStyleCnt="0"/>
      <dgm:spPr/>
    </dgm:pt>
    <dgm:pt modelId="{461151F4-53A5-481A-8088-62EA681AE4BA}" type="pres">
      <dgm:prSet presAssocID="{1A09EF79-2F34-4D48-9D45-887EDCC7FCA1}" presName="hierChild5" presStyleCnt="0"/>
      <dgm:spPr/>
    </dgm:pt>
    <dgm:pt modelId="{9FDA0F64-BC6C-4F68-806C-26BC35A22C08}" type="pres">
      <dgm:prSet presAssocID="{3070FEAF-E714-4809-86DA-9D9DC615893B}" presName="Name37" presStyleLbl="parChTrans1D4" presStyleIdx="9" presStyleCnt="21"/>
      <dgm:spPr/>
    </dgm:pt>
    <dgm:pt modelId="{24E0F532-EF7B-432D-A186-FE40C4588199}" type="pres">
      <dgm:prSet presAssocID="{26191A03-3627-4E26-AC2F-FFD548AF77D1}" presName="hierRoot2" presStyleCnt="0">
        <dgm:presLayoutVars>
          <dgm:hierBranch val="init"/>
        </dgm:presLayoutVars>
      </dgm:prSet>
      <dgm:spPr/>
    </dgm:pt>
    <dgm:pt modelId="{93A1C2A6-381C-472A-B715-37F5F2A4D5B7}" type="pres">
      <dgm:prSet presAssocID="{26191A03-3627-4E26-AC2F-FFD548AF77D1}" presName="rootComposite" presStyleCnt="0"/>
      <dgm:spPr/>
    </dgm:pt>
    <dgm:pt modelId="{1C363F96-B440-42B6-A547-56600F95A979}" type="pres">
      <dgm:prSet presAssocID="{26191A03-3627-4E26-AC2F-FFD548AF77D1}" presName="rootText" presStyleLbl="node4" presStyleIdx="9" presStyleCnt="21">
        <dgm:presLayoutVars>
          <dgm:chPref val="3"/>
        </dgm:presLayoutVars>
      </dgm:prSet>
      <dgm:spPr/>
    </dgm:pt>
    <dgm:pt modelId="{2D0BE812-9068-44D8-9F2B-06F722AEE7FE}" type="pres">
      <dgm:prSet presAssocID="{26191A03-3627-4E26-AC2F-FFD548AF77D1}" presName="rootConnector" presStyleLbl="node4" presStyleIdx="9" presStyleCnt="21"/>
      <dgm:spPr/>
    </dgm:pt>
    <dgm:pt modelId="{04D504F3-AB17-45C4-B30A-ED9FBDF5647F}" type="pres">
      <dgm:prSet presAssocID="{26191A03-3627-4E26-AC2F-FFD548AF77D1}" presName="hierChild4" presStyleCnt="0"/>
      <dgm:spPr/>
    </dgm:pt>
    <dgm:pt modelId="{E60BED37-DFB4-4E43-B462-BFAD151DAF64}" type="pres">
      <dgm:prSet presAssocID="{26191A03-3627-4E26-AC2F-FFD548AF77D1}" presName="hierChild5" presStyleCnt="0"/>
      <dgm:spPr/>
    </dgm:pt>
    <dgm:pt modelId="{AF4C31F8-A271-48CF-BCCC-51BE3B598757}" type="pres">
      <dgm:prSet presAssocID="{7DB54FCA-DCE7-4972-AF17-E6160395D967}" presName="Name37" presStyleLbl="parChTrans1D4" presStyleIdx="10" presStyleCnt="21"/>
      <dgm:spPr/>
    </dgm:pt>
    <dgm:pt modelId="{47427BA2-7A78-4563-BDEB-308F9175D2E5}" type="pres">
      <dgm:prSet presAssocID="{11A47870-75E9-4C3F-892B-448E73141CBD}" presName="hierRoot2" presStyleCnt="0">
        <dgm:presLayoutVars>
          <dgm:hierBranch val="init"/>
        </dgm:presLayoutVars>
      </dgm:prSet>
      <dgm:spPr/>
    </dgm:pt>
    <dgm:pt modelId="{38AE3C0E-FCEF-4B1C-A610-86FB795028E8}" type="pres">
      <dgm:prSet presAssocID="{11A47870-75E9-4C3F-892B-448E73141CBD}" presName="rootComposite" presStyleCnt="0"/>
      <dgm:spPr/>
    </dgm:pt>
    <dgm:pt modelId="{50F93FED-FAD8-4246-8380-95E5FD1CAFCF}" type="pres">
      <dgm:prSet presAssocID="{11A47870-75E9-4C3F-892B-448E73141CBD}" presName="rootText" presStyleLbl="node4" presStyleIdx="10" presStyleCnt="21" custLinFactNeighborX="172">
        <dgm:presLayoutVars>
          <dgm:chPref val="3"/>
        </dgm:presLayoutVars>
      </dgm:prSet>
      <dgm:spPr/>
    </dgm:pt>
    <dgm:pt modelId="{CDD983B0-8FE9-496E-A348-1717DA1A98BF}" type="pres">
      <dgm:prSet presAssocID="{11A47870-75E9-4C3F-892B-448E73141CBD}" presName="rootConnector" presStyleLbl="node4" presStyleIdx="10" presStyleCnt="21"/>
      <dgm:spPr/>
    </dgm:pt>
    <dgm:pt modelId="{61DF0730-3A4F-4AD6-AA71-E1361092B3A8}" type="pres">
      <dgm:prSet presAssocID="{11A47870-75E9-4C3F-892B-448E73141CBD}" presName="hierChild4" presStyleCnt="0"/>
      <dgm:spPr/>
    </dgm:pt>
    <dgm:pt modelId="{3A6AE6D0-74EF-4DB9-BFA2-806626FEE2CA}" type="pres">
      <dgm:prSet presAssocID="{11A47870-75E9-4C3F-892B-448E73141CBD}" presName="hierChild5" presStyleCnt="0"/>
      <dgm:spPr/>
    </dgm:pt>
    <dgm:pt modelId="{0D1E12E0-9EC4-420E-8447-34C8E5655286}" type="pres">
      <dgm:prSet presAssocID="{5357A782-4AA4-4718-8F33-A7151D18ACA4}" presName="Name37" presStyleLbl="parChTrans1D4" presStyleIdx="11" presStyleCnt="21"/>
      <dgm:spPr/>
    </dgm:pt>
    <dgm:pt modelId="{EB14C6F1-6E99-4180-A04E-D00F567D68F5}" type="pres">
      <dgm:prSet presAssocID="{35276BF8-A74A-468D-873C-DBC02263A51E}" presName="hierRoot2" presStyleCnt="0">
        <dgm:presLayoutVars>
          <dgm:hierBranch val="init"/>
        </dgm:presLayoutVars>
      </dgm:prSet>
      <dgm:spPr/>
    </dgm:pt>
    <dgm:pt modelId="{5E98DA1C-A273-45FD-8C84-245DA2D37719}" type="pres">
      <dgm:prSet presAssocID="{35276BF8-A74A-468D-873C-DBC02263A51E}" presName="rootComposite" presStyleCnt="0"/>
      <dgm:spPr/>
    </dgm:pt>
    <dgm:pt modelId="{901B3078-2251-40B5-B048-64F4648E7EA1}" type="pres">
      <dgm:prSet presAssocID="{35276BF8-A74A-468D-873C-DBC02263A51E}" presName="rootText" presStyleLbl="node4" presStyleIdx="11" presStyleCnt="21">
        <dgm:presLayoutVars>
          <dgm:chPref val="3"/>
        </dgm:presLayoutVars>
      </dgm:prSet>
      <dgm:spPr/>
    </dgm:pt>
    <dgm:pt modelId="{ABDF2FD1-1E0C-434E-AE15-E15860706D31}" type="pres">
      <dgm:prSet presAssocID="{35276BF8-A74A-468D-873C-DBC02263A51E}" presName="rootConnector" presStyleLbl="node4" presStyleIdx="11" presStyleCnt="21"/>
      <dgm:spPr/>
    </dgm:pt>
    <dgm:pt modelId="{CB08E346-059E-47DD-95B4-33B55C6AB1CA}" type="pres">
      <dgm:prSet presAssocID="{35276BF8-A74A-468D-873C-DBC02263A51E}" presName="hierChild4" presStyleCnt="0"/>
      <dgm:spPr/>
    </dgm:pt>
    <dgm:pt modelId="{101F261B-3F37-400C-9693-14D22271F33D}" type="pres">
      <dgm:prSet presAssocID="{35276BF8-A74A-468D-873C-DBC02263A51E}" presName="hierChild5" presStyleCnt="0"/>
      <dgm:spPr/>
    </dgm:pt>
    <dgm:pt modelId="{FC9E5020-3F34-4AAF-84BD-223A92F87DC9}" type="pres">
      <dgm:prSet presAssocID="{F44A1BDD-EE53-4FA6-A4D3-0B829201FF10}" presName="hierChild5" presStyleCnt="0"/>
      <dgm:spPr/>
    </dgm:pt>
    <dgm:pt modelId="{DC35AB3D-4FFB-4232-8E26-A0C9BC127F3B}" type="pres">
      <dgm:prSet presAssocID="{E84D9619-23CD-44F0-A667-E6875462C6FF}" presName="Name35" presStyleLbl="parChTrans1D4" presStyleIdx="12" presStyleCnt="21"/>
      <dgm:spPr/>
    </dgm:pt>
    <dgm:pt modelId="{0A99FF3F-65FD-477C-81C1-88D38507A132}" type="pres">
      <dgm:prSet presAssocID="{F6382F79-8FA8-413A-BC07-11F00E8E57D3}" presName="hierRoot2" presStyleCnt="0">
        <dgm:presLayoutVars>
          <dgm:hierBranch val="init"/>
        </dgm:presLayoutVars>
      </dgm:prSet>
      <dgm:spPr/>
    </dgm:pt>
    <dgm:pt modelId="{0E6D1457-F1B6-4C1F-8F1B-A4B271D1091C}" type="pres">
      <dgm:prSet presAssocID="{F6382F79-8FA8-413A-BC07-11F00E8E57D3}" presName="rootComposite" presStyleCnt="0"/>
      <dgm:spPr/>
    </dgm:pt>
    <dgm:pt modelId="{924A49D4-E97A-4CD2-8F7D-BC5B66DBB0A4}" type="pres">
      <dgm:prSet presAssocID="{F6382F79-8FA8-413A-BC07-11F00E8E57D3}" presName="rootText" presStyleLbl="node4" presStyleIdx="12" presStyleCnt="21">
        <dgm:presLayoutVars>
          <dgm:chPref val="3"/>
        </dgm:presLayoutVars>
      </dgm:prSet>
      <dgm:spPr>
        <a:xfrm>
          <a:off x="2075069" y="1979030"/>
          <a:ext cx="857289" cy="428644"/>
        </a:xfrm>
        <a:prstGeom prst="rect">
          <a:avLst/>
        </a:prstGeom>
      </dgm:spPr>
    </dgm:pt>
    <dgm:pt modelId="{6F434215-4ABF-4C81-9637-0ED6311BDCED}" type="pres">
      <dgm:prSet presAssocID="{F6382F79-8FA8-413A-BC07-11F00E8E57D3}" presName="rootConnector" presStyleLbl="node4" presStyleIdx="12" presStyleCnt="21"/>
      <dgm:spPr/>
    </dgm:pt>
    <dgm:pt modelId="{4219A14E-D402-4515-9F67-2E86DF152CB5}" type="pres">
      <dgm:prSet presAssocID="{F6382F79-8FA8-413A-BC07-11F00E8E57D3}" presName="hierChild4" presStyleCnt="0"/>
      <dgm:spPr/>
    </dgm:pt>
    <dgm:pt modelId="{8F847A50-CC34-4799-A443-2969B138129A}" type="pres">
      <dgm:prSet presAssocID="{80C2768C-C89E-4743-BB39-D81F455B3E13}" presName="Name37" presStyleLbl="parChTrans1D4" presStyleIdx="13" presStyleCnt="21"/>
      <dgm:spPr/>
    </dgm:pt>
    <dgm:pt modelId="{A460C6F2-BE1D-406A-AE43-87964ED68FCD}" type="pres">
      <dgm:prSet presAssocID="{565CBF4F-A42E-4D01-A709-29D66DA69EF8}" presName="hierRoot2" presStyleCnt="0">
        <dgm:presLayoutVars>
          <dgm:hierBranch val="init"/>
        </dgm:presLayoutVars>
      </dgm:prSet>
      <dgm:spPr/>
    </dgm:pt>
    <dgm:pt modelId="{6F94660B-4501-46EC-8481-BA995EBDABD9}" type="pres">
      <dgm:prSet presAssocID="{565CBF4F-A42E-4D01-A709-29D66DA69EF8}" presName="rootComposite" presStyleCnt="0"/>
      <dgm:spPr/>
    </dgm:pt>
    <dgm:pt modelId="{57EC7246-DBF5-472E-9518-085661C0E74C}" type="pres">
      <dgm:prSet presAssocID="{565CBF4F-A42E-4D01-A709-29D66DA69EF8}" presName="rootText" presStyleLbl="node4" presStyleIdx="13" presStyleCnt="21">
        <dgm:presLayoutVars>
          <dgm:chPref val="3"/>
        </dgm:presLayoutVars>
      </dgm:prSet>
      <dgm:spPr>
        <a:xfrm>
          <a:off x="4041823" y="2390483"/>
          <a:ext cx="841101" cy="420550"/>
        </a:xfrm>
        <a:prstGeom prst="rect">
          <a:avLst/>
        </a:prstGeom>
      </dgm:spPr>
    </dgm:pt>
    <dgm:pt modelId="{11C4C407-B825-41A1-A06D-34D4CDAFE85A}" type="pres">
      <dgm:prSet presAssocID="{565CBF4F-A42E-4D01-A709-29D66DA69EF8}" presName="rootConnector" presStyleLbl="node4" presStyleIdx="13" presStyleCnt="21"/>
      <dgm:spPr/>
    </dgm:pt>
    <dgm:pt modelId="{C5322689-4FEC-4013-880B-0523FD88DA6C}" type="pres">
      <dgm:prSet presAssocID="{565CBF4F-A42E-4D01-A709-29D66DA69EF8}" presName="hierChild4" presStyleCnt="0"/>
      <dgm:spPr/>
    </dgm:pt>
    <dgm:pt modelId="{A1F3983C-5DEA-4D5B-91C5-E4527DFC2506}" type="pres">
      <dgm:prSet presAssocID="{565CBF4F-A42E-4D01-A709-29D66DA69EF8}" presName="hierChild5" presStyleCnt="0"/>
      <dgm:spPr/>
    </dgm:pt>
    <dgm:pt modelId="{9BA2ED22-69BD-4805-A073-91F9075D2B46}" type="pres">
      <dgm:prSet presAssocID="{D39DA097-4613-4984-9786-255E79BE2D6B}" presName="Name37" presStyleLbl="parChTrans1D4" presStyleIdx="14" presStyleCnt="21"/>
      <dgm:spPr/>
    </dgm:pt>
    <dgm:pt modelId="{9D049A94-057F-485A-BD98-B4436475C03F}" type="pres">
      <dgm:prSet presAssocID="{066AB86D-6301-4D7F-BD5D-1F914C195F1E}" presName="hierRoot2" presStyleCnt="0">
        <dgm:presLayoutVars>
          <dgm:hierBranch val="init"/>
        </dgm:presLayoutVars>
      </dgm:prSet>
      <dgm:spPr/>
    </dgm:pt>
    <dgm:pt modelId="{1B3B871F-B854-467C-AD46-EB4DA8040D1E}" type="pres">
      <dgm:prSet presAssocID="{066AB86D-6301-4D7F-BD5D-1F914C195F1E}" presName="rootComposite" presStyleCnt="0"/>
      <dgm:spPr/>
    </dgm:pt>
    <dgm:pt modelId="{52C722D9-3A55-4BA1-B5FE-CEA252C222C9}" type="pres">
      <dgm:prSet presAssocID="{066AB86D-6301-4D7F-BD5D-1F914C195F1E}" presName="rootText" presStyleLbl="node4" presStyleIdx="14" presStyleCnt="21">
        <dgm:presLayoutVars>
          <dgm:chPref val="3"/>
        </dgm:presLayoutVars>
      </dgm:prSet>
      <dgm:spPr>
        <a:xfrm>
          <a:off x="4041823" y="2987665"/>
          <a:ext cx="841101" cy="420550"/>
        </a:xfrm>
        <a:prstGeom prst="rect">
          <a:avLst/>
        </a:prstGeom>
      </dgm:spPr>
    </dgm:pt>
    <dgm:pt modelId="{CE1611B5-8817-49E5-A4B9-0BF2081E8EB7}" type="pres">
      <dgm:prSet presAssocID="{066AB86D-6301-4D7F-BD5D-1F914C195F1E}" presName="rootConnector" presStyleLbl="node4" presStyleIdx="14" presStyleCnt="21"/>
      <dgm:spPr/>
    </dgm:pt>
    <dgm:pt modelId="{93DA62F4-1F15-494E-92DF-0EA5666D48E9}" type="pres">
      <dgm:prSet presAssocID="{066AB86D-6301-4D7F-BD5D-1F914C195F1E}" presName="hierChild4" presStyleCnt="0"/>
      <dgm:spPr/>
    </dgm:pt>
    <dgm:pt modelId="{5B727219-5C21-4E6E-9F38-9C9EA5526F17}" type="pres">
      <dgm:prSet presAssocID="{066AB86D-6301-4D7F-BD5D-1F914C195F1E}" presName="hierChild5" presStyleCnt="0"/>
      <dgm:spPr/>
    </dgm:pt>
    <dgm:pt modelId="{C329D143-7DCC-4E3C-93A7-F623D9BEF44D}" type="pres">
      <dgm:prSet presAssocID="{6C4B7B2F-082D-414F-A829-F6A5F5ACF18F}" presName="Name37" presStyleLbl="parChTrans1D4" presStyleIdx="15" presStyleCnt="21"/>
      <dgm:spPr/>
    </dgm:pt>
    <dgm:pt modelId="{0733E9C1-3C58-4F4E-99C1-4E54922FE799}" type="pres">
      <dgm:prSet presAssocID="{D2B7C597-E0CC-4804-9F07-28B1C75E77FD}" presName="hierRoot2" presStyleCnt="0">
        <dgm:presLayoutVars>
          <dgm:hierBranch val="init"/>
        </dgm:presLayoutVars>
      </dgm:prSet>
      <dgm:spPr/>
    </dgm:pt>
    <dgm:pt modelId="{70341F13-2287-450B-A394-B58ED08AA815}" type="pres">
      <dgm:prSet presAssocID="{D2B7C597-E0CC-4804-9F07-28B1C75E77FD}" presName="rootComposite" presStyleCnt="0"/>
      <dgm:spPr/>
    </dgm:pt>
    <dgm:pt modelId="{C9D8AB3C-E5B7-4D82-A08A-E98580C5055B}" type="pres">
      <dgm:prSet presAssocID="{D2B7C597-E0CC-4804-9F07-28B1C75E77FD}" presName="rootText" presStyleLbl="node4" presStyleIdx="15" presStyleCnt="21">
        <dgm:presLayoutVars>
          <dgm:chPref val="3"/>
        </dgm:presLayoutVars>
      </dgm:prSet>
      <dgm:spPr>
        <a:xfrm>
          <a:off x="4041823" y="3584848"/>
          <a:ext cx="841101" cy="420550"/>
        </a:xfrm>
        <a:prstGeom prst="rect">
          <a:avLst/>
        </a:prstGeom>
      </dgm:spPr>
    </dgm:pt>
    <dgm:pt modelId="{4E86BF0C-5DA6-45DC-9A87-F5A4DD35AF49}" type="pres">
      <dgm:prSet presAssocID="{D2B7C597-E0CC-4804-9F07-28B1C75E77FD}" presName="rootConnector" presStyleLbl="node4" presStyleIdx="15" presStyleCnt="21"/>
      <dgm:spPr/>
    </dgm:pt>
    <dgm:pt modelId="{2640D2DF-4FC5-4596-BF4C-2613D32D8B4E}" type="pres">
      <dgm:prSet presAssocID="{D2B7C597-E0CC-4804-9F07-28B1C75E77FD}" presName="hierChild4" presStyleCnt="0"/>
      <dgm:spPr/>
    </dgm:pt>
    <dgm:pt modelId="{61FD7629-9CE0-4559-9A5D-9422050386C8}" type="pres">
      <dgm:prSet presAssocID="{D2B7C597-E0CC-4804-9F07-28B1C75E77FD}" presName="hierChild5" presStyleCnt="0"/>
      <dgm:spPr/>
    </dgm:pt>
    <dgm:pt modelId="{53B19617-CAF6-4657-8034-2FD135E0A41A}" type="pres">
      <dgm:prSet presAssocID="{23429310-4C8D-405D-9D1B-051FAF4BD8D0}" presName="Name37" presStyleLbl="parChTrans1D4" presStyleIdx="16" presStyleCnt="21"/>
      <dgm:spPr/>
    </dgm:pt>
    <dgm:pt modelId="{8BE741AE-EFB8-4185-80D4-88EFEC79E7EB}" type="pres">
      <dgm:prSet presAssocID="{5160DD23-E7DF-4F0C-996C-9BEB009EEF58}" presName="hierRoot2" presStyleCnt="0">
        <dgm:presLayoutVars>
          <dgm:hierBranch val="init"/>
        </dgm:presLayoutVars>
      </dgm:prSet>
      <dgm:spPr/>
    </dgm:pt>
    <dgm:pt modelId="{3DB99C16-10F3-4B66-91B9-21BCB2C2D96E}" type="pres">
      <dgm:prSet presAssocID="{5160DD23-E7DF-4F0C-996C-9BEB009EEF58}" presName="rootComposite" presStyleCnt="0"/>
      <dgm:spPr/>
    </dgm:pt>
    <dgm:pt modelId="{7966A048-677B-4B2A-BF85-0A786EFFCBDA}" type="pres">
      <dgm:prSet presAssocID="{5160DD23-E7DF-4F0C-996C-9BEB009EEF58}" presName="rootText" presStyleLbl="node4" presStyleIdx="16" presStyleCnt="21">
        <dgm:presLayoutVars>
          <dgm:chPref val="3"/>
        </dgm:presLayoutVars>
      </dgm:prSet>
      <dgm:spPr>
        <a:xfrm>
          <a:off x="4041823" y="4182030"/>
          <a:ext cx="841101" cy="420550"/>
        </a:xfrm>
        <a:prstGeom prst="rect">
          <a:avLst/>
        </a:prstGeom>
      </dgm:spPr>
    </dgm:pt>
    <dgm:pt modelId="{2D7F166B-A874-4DAB-8BC2-BC8F693AF8A8}" type="pres">
      <dgm:prSet presAssocID="{5160DD23-E7DF-4F0C-996C-9BEB009EEF58}" presName="rootConnector" presStyleLbl="node4" presStyleIdx="16" presStyleCnt="21"/>
      <dgm:spPr/>
    </dgm:pt>
    <dgm:pt modelId="{3E7D9229-F361-4BE8-9498-A94A9B274E98}" type="pres">
      <dgm:prSet presAssocID="{5160DD23-E7DF-4F0C-996C-9BEB009EEF58}" presName="hierChild4" presStyleCnt="0"/>
      <dgm:spPr/>
    </dgm:pt>
    <dgm:pt modelId="{866A531E-686D-4E47-9E45-9410BD92720A}" type="pres">
      <dgm:prSet presAssocID="{5160DD23-E7DF-4F0C-996C-9BEB009EEF58}" presName="hierChild5" presStyleCnt="0"/>
      <dgm:spPr/>
    </dgm:pt>
    <dgm:pt modelId="{436EE18A-53D9-4AC7-911F-DFA7D1991C6B}" type="pres">
      <dgm:prSet presAssocID="{F6382F79-8FA8-413A-BC07-11F00E8E57D3}" presName="hierChild5" presStyleCnt="0"/>
      <dgm:spPr/>
    </dgm:pt>
    <dgm:pt modelId="{67CD5DEB-3CC4-4710-BD2B-727E55A50877}" type="pres">
      <dgm:prSet presAssocID="{1C5ED702-6D00-4A1D-9C7A-436C60845140}" presName="hierChild5" presStyleCnt="0"/>
      <dgm:spPr/>
    </dgm:pt>
    <dgm:pt modelId="{A86AABDB-BE67-4DBE-9E3B-A6547D894849}" type="pres">
      <dgm:prSet presAssocID="{5D9A5639-78F5-48AE-945F-B3918B713637}" presName="Name35" presStyleLbl="parChTrans1D3" presStyleIdx="1" presStyleCnt="7"/>
      <dgm:spPr/>
    </dgm:pt>
    <dgm:pt modelId="{CA135208-CC69-4BB5-A5BA-614F475A0845}" type="pres">
      <dgm:prSet presAssocID="{DAAAF051-89F7-4FE1-9EEC-976056B64CFB}" presName="hierRoot2" presStyleCnt="0">
        <dgm:presLayoutVars>
          <dgm:hierBranch val="init"/>
        </dgm:presLayoutVars>
      </dgm:prSet>
      <dgm:spPr/>
    </dgm:pt>
    <dgm:pt modelId="{B6310C4B-5E63-459A-9793-D0E83AB90C0F}" type="pres">
      <dgm:prSet presAssocID="{DAAAF051-89F7-4FE1-9EEC-976056B64CFB}" presName="rootComposite" presStyleCnt="0"/>
      <dgm:spPr/>
    </dgm:pt>
    <dgm:pt modelId="{B94123BB-5C69-4716-9BD0-9FEA21E7532F}" type="pres">
      <dgm:prSet presAssocID="{DAAAF051-89F7-4FE1-9EEC-976056B64CFB}" presName="rootText" presStyleLbl="node3" presStyleIdx="1" presStyleCnt="7" custLinFactX="5245" custLinFactNeighborX="100000" custLinFactNeighborY="2313">
        <dgm:presLayoutVars>
          <dgm:chPref val="3"/>
        </dgm:presLayoutVars>
      </dgm:prSet>
      <dgm:spPr/>
    </dgm:pt>
    <dgm:pt modelId="{73E3B1CC-C012-4D44-9DD8-0993C59B7564}" type="pres">
      <dgm:prSet presAssocID="{DAAAF051-89F7-4FE1-9EEC-976056B64CFB}" presName="rootConnector" presStyleLbl="node3" presStyleIdx="1" presStyleCnt="7"/>
      <dgm:spPr/>
    </dgm:pt>
    <dgm:pt modelId="{539FD1D6-4F9B-486B-9D07-539C45900444}" type="pres">
      <dgm:prSet presAssocID="{DAAAF051-89F7-4FE1-9EEC-976056B64CFB}" presName="hierChild4" presStyleCnt="0"/>
      <dgm:spPr/>
    </dgm:pt>
    <dgm:pt modelId="{701A84C8-1A3D-43CD-A4A6-3853956BE1EE}" type="pres">
      <dgm:prSet presAssocID="{DAAAF051-89F7-4FE1-9EEC-976056B64CFB}" presName="hierChild5" presStyleCnt="0"/>
      <dgm:spPr/>
    </dgm:pt>
    <dgm:pt modelId="{AD500E65-95BF-4AC7-B6A3-DE665825F8B8}" type="pres">
      <dgm:prSet presAssocID="{B0602058-1197-4BE6-9C76-72F957B406C1}" presName="Name35" presStyleLbl="parChTrans1D3" presStyleIdx="2" presStyleCnt="7"/>
      <dgm:spPr/>
    </dgm:pt>
    <dgm:pt modelId="{EE4E1629-A001-4495-BBE3-BCED3F6DE9D1}" type="pres">
      <dgm:prSet presAssocID="{3913C865-6E9D-4F48-B0AC-DB66360AB161}" presName="hierRoot2" presStyleCnt="0">
        <dgm:presLayoutVars>
          <dgm:hierBranch val="init"/>
        </dgm:presLayoutVars>
      </dgm:prSet>
      <dgm:spPr/>
    </dgm:pt>
    <dgm:pt modelId="{D40573E9-C86C-4708-BE67-9F76D437AD31}" type="pres">
      <dgm:prSet presAssocID="{3913C865-6E9D-4F48-B0AC-DB66360AB161}" presName="rootComposite" presStyleCnt="0"/>
      <dgm:spPr/>
    </dgm:pt>
    <dgm:pt modelId="{E060FA0A-299D-41EB-81B2-4FB6923B8E59}" type="pres">
      <dgm:prSet presAssocID="{3913C865-6E9D-4F48-B0AC-DB66360AB161}" presName="rootText" presStyleLbl="node3" presStyleIdx="2" presStyleCnt="7">
        <dgm:presLayoutVars>
          <dgm:chPref val="3"/>
        </dgm:presLayoutVars>
      </dgm:prSet>
      <dgm:spPr/>
    </dgm:pt>
    <dgm:pt modelId="{6B341FC9-A90F-461D-B748-FE2200498CFB}" type="pres">
      <dgm:prSet presAssocID="{3913C865-6E9D-4F48-B0AC-DB66360AB161}" presName="rootConnector" presStyleLbl="node3" presStyleIdx="2" presStyleCnt="7"/>
      <dgm:spPr/>
    </dgm:pt>
    <dgm:pt modelId="{B5E4BA40-A809-4A41-84F1-FE51E8872133}" type="pres">
      <dgm:prSet presAssocID="{3913C865-6E9D-4F48-B0AC-DB66360AB161}" presName="hierChild4" presStyleCnt="0"/>
      <dgm:spPr/>
    </dgm:pt>
    <dgm:pt modelId="{49CB6210-5E09-4DEF-89EA-CEE98677EED7}" type="pres">
      <dgm:prSet presAssocID="{C8259F6A-5BA0-4A96-A09B-032495F6BE68}" presName="Name37" presStyleLbl="parChTrans1D4" presStyleIdx="17" presStyleCnt="21"/>
      <dgm:spPr/>
    </dgm:pt>
    <dgm:pt modelId="{453C8269-A1F6-4CC4-AF76-26AB724075EF}" type="pres">
      <dgm:prSet presAssocID="{6C9AED37-C2FB-4552-A93D-FA1079737B5F}" presName="hierRoot2" presStyleCnt="0">
        <dgm:presLayoutVars>
          <dgm:hierBranch val="init"/>
        </dgm:presLayoutVars>
      </dgm:prSet>
      <dgm:spPr/>
    </dgm:pt>
    <dgm:pt modelId="{92635793-1745-4E61-A1F0-B75101D16F73}" type="pres">
      <dgm:prSet presAssocID="{6C9AED37-C2FB-4552-A93D-FA1079737B5F}" presName="rootComposite" presStyleCnt="0"/>
      <dgm:spPr/>
    </dgm:pt>
    <dgm:pt modelId="{39C8021A-BF60-40BA-A52D-BE2ADCFBB379}" type="pres">
      <dgm:prSet presAssocID="{6C9AED37-C2FB-4552-A93D-FA1079737B5F}" presName="rootText" presStyleLbl="node4" presStyleIdx="17" presStyleCnt="21">
        <dgm:presLayoutVars>
          <dgm:chPref val="3"/>
        </dgm:presLayoutVars>
      </dgm:prSet>
      <dgm:spPr/>
    </dgm:pt>
    <dgm:pt modelId="{8F505BCA-2F5E-40B3-B581-0173C2163B88}" type="pres">
      <dgm:prSet presAssocID="{6C9AED37-C2FB-4552-A93D-FA1079737B5F}" presName="rootConnector" presStyleLbl="node4" presStyleIdx="17" presStyleCnt="21"/>
      <dgm:spPr/>
    </dgm:pt>
    <dgm:pt modelId="{B89F8BE2-2141-4740-8918-7948A3A2BBC2}" type="pres">
      <dgm:prSet presAssocID="{6C9AED37-C2FB-4552-A93D-FA1079737B5F}" presName="hierChild4" presStyleCnt="0"/>
      <dgm:spPr/>
    </dgm:pt>
    <dgm:pt modelId="{B7BA6D73-4F65-4FF8-8288-D28FDEE0656B}" type="pres">
      <dgm:prSet presAssocID="{6C9AED37-C2FB-4552-A93D-FA1079737B5F}" presName="hierChild5" presStyleCnt="0"/>
      <dgm:spPr/>
    </dgm:pt>
    <dgm:pt modelId="{36CA6486-F751-4979-8D2D-C64FB7D576B7}" type="pres">
      <dgm:prSet presAssocID="{3913C865-6E9D-4F48-B0AC-DB66360AB161}" presName="hierChild5" presStyleCnt="0"/>
      <dgm:spPr/>
    </dgm:pt>
    <dgm:pt modelId="{892868DE-FA3F-456B-9909-93FE86A72657}" type="pres">
      <dgm:prSet presAssocID="{4F12B914-2A21-4B9A-BCCA-0B4E9CFC9DBE}" presName="Name35" presStyleLbl="parChTrans1D3" presStyleIdx="3" presStyleCnt="7"/>
      <dgm:spPr/>
    </dgm:pt>
    <dgm:pt modelId="{0E216B59-E868-492C-BD11-4798F5EA1D95}" type="pres">
      <dgm:prSet presAssocID="{2B93744D-7D5D-4AAA-A9D4-065B183D1508}" presName="hierRoot2" presStyleCnt="0">
        <dgm:presLayoutVars>
          <dgm:hierBranch val="init"/>
        </dgm:presLayoutVars>
      </dgm:prSet>
      <dgm:spPr/>
    </dgm:pt>
    <dgm:pt modelId="{E14A9FF6-67F7-410C-BF12-CFA132B59700}" type="pres">
      <dgm:prSet presAssocID="{2B93744D-7D5D-4AAA-A9D4-065B183D1508}" presName="rootComposite" presStyleCnt="0"/>
      <dgm:spPr/>
    </dgm:pt>
    <dgm:pt modelId="{C51BF866-E3D8-4FC4-B274-A6EE0B240849}" type="pres">
      <dgm:prSet presAssocID="{2B93744D-7D5D-4AAA-A9D4-065B183D1508}" presName="rootText" presStyleLbl="node3" presStyleIdx="3" presStyleCnt="7">
        <dgm:presLayoutVars>
          <dgm:chPref val="3"/>
        </dgm:presLayoutVars>
      </dgm:prSet>
      <dgm:spPr/>
    </dgm:pt>
    <dgm:pt modelId="{9FC59AA9-3FB9-48CD-A049-2DE9A8B55DEA}" type="pres">
      <dgm:prSet presAssocID="{2B93744D-7D5D-4AAA-A9D4-065B183D1508}" presName="rootConnector" presStyleLbl="node3" presStyleIdx="3" presStyleCnt="7"/>
      <dgm:spPr/>
    </dgm:pt>
    <dgm:pt modelId="{6F0073A2-73A2-44F1-B906-37C2B7ACF91D}" type="pres">
      <dgm:prSet presAssocID="{2B93744D-7D5D-4AAA-A9D4-065B183D1508}" presName="hierChild4" presStyleCnt="0"/>
      <dgm:spPr/>
    </dgm:pt>
    <dgm:pt modelId="{84BFBE6D-66A9-4778-A101-1E980BBC3A7C}" type="pres">
      <dgm:prSet presAssocID="{39F3A1B3-C5AD-41EA-A377-1B5D6E2C7C40}" presName="Name37" presStyleLbl="parChTrans1D4" presStyleIdx="18" presStyleCnt="21"/>
      <dgm:spPr/>
    </dgm:pt>
    <dgm:pt modelId="{3CA10996-28D2-4D8E-8A88-626ADDD143DA}" type="pres">
      <dgm:prSet presAssocID="{29263A8B-4A11-4822-AD15-431E52FFAF13}" presName="hierRoot2" presStyleCnt="0">
        <dgm:presLayoutVars>
          <dgm:hierBranch val="init"/>
        </dgm:presLayoutVars>
      </dgm:prSet>
      <dgm:spPr/>
    </dgm:pt>
    <dgm:pt modelId="{5AD29EA3-BED1-4F93-AFBC-40F75C1883FD}" type="pres">
      <dgm:prSet presAssocID="{29263A8B-4A11-4822-AD15-431E52FFAF13}" presName="rootComposite" presStyleCnt="0"/>
      <dgm:spPr/>
    </dgm:pt>
    <dgm:pt modelId="{5933B140-47DD-4D81-A8D8-F4EB3AC841AC}" type="pres">
      <dgm:prSet presAssocID="{29263A8B-4A11-4822-AD15-431E52FFAF13}" presName="rootText" presStyleLbl="node4" presStyleIdx="18" presStyleCnt="21">
        <dgm:presLayoutVars>
          <dgm:chPref val="3"/>
        </dgm:presLayoutVars>
      </dgm:prSet>
      <dgm:spPr/>
    </dgm:pt>
    <dgm:pt modelId="{92232E44-81BB-40C5-A7C3-CE271BCEF949}" type="pres">
      <dgm:prSet presAssocID="{29263A8B-4A11-4822-AD15-431E52FFAF13}" presName="rootConnector" presStyleLbl="node4" presStyleIdx="18" presStyleCnt="21"/>
      <dgm:spPr/>
    </dgm:pt>
    <dgm:pt modelId="{7D27EE9E-4333-44A4-A8A2-76043169797A}" type="pres">
      <dgm:prSet presAssocID="{29263A8B-4A11-4822-AD15-431E52FFAF13}" presName="hierChild4" presStyleCnt="0"/>
      <dgm:spPr/>
    </dgm:pt>
    <dgm:pt modelId="{989884D9-C418-457A-A9B6-8F097021068D}" type="pres">
      <dgm:prSet presAssocID="{29263A8B-4A11-4822-AD15-431E52FFAF13}" presName="hierChild5" presStyleCnt="0"/>
      <dgm:spPr/>
    </dgm:pt>
    <dgm:pt modelId="{5FD77B48-F092-41B0-9711-63E42E8C3D5D}" type="pres">
      <dgm:prSet presAssocID="{2B93744D-7D5D-4AAA-A9D4-065B183D1508}" presName="hierChild5" presStyleCnt="0"/>
      <dgm:spPr/>
    </dgm:pt>
    <dgm:pt modelId="{A0FA2BE3-C156-41E9-B6B1-FB6E8B146081}" type="pres">
      <dgm:prSet presAssocID="{536DBBFB-BD13-402F-8846-0A565BCC62DE}" presName="Name35" presStyleLbl="parChTrans1D3" presStyleIdx="4" presStyleCnt="7"/>
      <dgm:spPr/>
    </dgm:pt>
    <dgm:pt modelId="{55E97DE9-2658-46C3-AA7F-9081337C0CE6}" type="pres">
      <dgm:prSet presAssocID="{1C005291-6471-4DE9-8ACA-188D6EA50277}" presName="hierRoot2" presStyleCnt="0">
        <dgm:presLayoutVars>
          <dgm:hierBranch val="init"/>
        </dgm:presLayoutVars>
      </dgm:prSet>
      <dgm:spPr/>
    </dgm:pt>
    <dgm:pt modelId="{7278F037-FE75-42AF-A33B-E9EC1B5F55AE}" type="pres">
      <dgm:prSet presAssocID="{1C005291-6471-4DE9-8ACA-188D6EA50277}" presName="rootComposite" presStyleCnt="0"/>
      <dgm:spPr/>
    </dgm:pt>
    <dgm:pt modelId="{06DD17CA-236E-4859-BB61-E237B20DA056}" type="pres">
      <dgm:prSet presAssocID="{1C005291-6471-4DE9-8ACA-188D6EA50277}" presName="rootText" presStyleLbl="node3" presStyleIdx="4" presStyleCnt="7">
        <dgm:presLayoutVars>
          <dgm:chPref val="3"/>
        </dgm:presLayoutVars>
      </dgm:prSet>
      <dgm:spPr/>
    </dgm:pt>
    <dgm:pt modelId="{CE9B3F3F-0753-4FDB-8553-F978A8D06C9D}" type="pres">
      <dgm:prSet presAssocID="{1C005291-6471-4DE9-8ACA-188D6EA50277}" presName="rootConnector" presStyleLbl="node3" presStyleIdx="4" presStyleCnt="7"/>
      <dgm:spPr/>
    </dgm:pt>
    <dgm:pt modelId="{EBB02D9D-45D3-4AD4-B38C-03408A9E346F}" type="pres">
      <dgm:prSet presAssocID="{1C005291-6471-4DE9-8ACA-188D6EA50277}" presName="hierChild4" presStyleCnt="0"/>
      <dgm:spPr/>
    </dgm:pt>
    <dgm:pt modelId="{84FFBFBF-0EAF-49D8-A7DD-AC80D388558C}" type="pres">
      <dgm:prSet presAssocID="{C4F89973-2A75-46D8-B0A9-E7C7176B93A4}" presName="Name37" presStyleLbl="parChTrans1D4" presStyleIdx="19" presStyleCnt="21"/>
      <dgm:spPr/>
    </dgm:pt>
    <dgm:pt modelId="{E2491576-41DC-491B-BD7E-0D8CA3FF2E4C}" type="pres">
      <dgm:prSet presAssocID="{405FA35C-AF76-4CA8-845A-B6D72FCFC530}" presName="hierRoot2" presStyleCnt="0">
        <dgm:presLayoutVars>
          <dgm:hierBranch val="init"/>
        </dgm:presLayoutVars>
      </dgm:prSet>
      <dgm:spPr/>
    </dgm:pt>
    <dgm:pt modelId="{0C4E797B-EA6D-4EE1-AD3B-82504B851680}" type="pres">
      <dgm:prSet presAssocID="{405FA35C-AF76-4CA8-845A-B6D72FCFC530}" presName="rootComposite" presStyleCnt="0"/>
      <dgm:spPr/>
    </dgm:pt>
    <dgm:pt modelId="{A71D1EC5-AC46-4350-8796-307499F8CBA7}" type="pres">
      <dgm:prSet presAssocID="{405FA35C-AF76-4CA8-845A-B6D72FCFC530}" presName="rootText" presStyleLbl="node4" presStyleIdx="19" presStyleCnt="21">
        <dgm:presLayoutVars>
          <dgm:chPref val="3"/>
        </dgm:presLayoutVars>
      </dgm:prSet>
      <dgm:spPr/>
    </dgm:pt>
    <dgm:pt modelId="{803B10E7-9A21-479F-BCE5-B6DB9567BD34}" type="pres">
      <dgm:prSet presAssocID="{405FA35C-AF76-4CA8-845A-B6D72FCFC530}" presName="rootConnector" presStyleLbl="node4" presStyleIdx="19" presStyleCnt="21"/>
      <dgm:spPr/>
    </dgm:pt>
    <dgm:pt modelId="{0F6FAC96-7FC4-40E2-A407-2B96B9E161B3}" type="pres">
      <dgm:prSet presAssocID="{405FA35C-AF76-4CA8-845A-B6D72FCFC530}" presName="hierChild4" presStyleCnt="0"/>
      <dgm:spPr/>
    </dgm:pt>
    <dgm:pt modelId="{5DED831C-9900-405D-B31F-3ED24E8A1B38}" type="pres">
      <dgm:prSet presAssocID="{405FA35C-AF76-4CA8-845A-B6D72FCFC530}" presName="hierChild5" presStyleCnt="0"/>
      <dgm:spPr/>
    </dgm:pt>
    <dgm:pt modelId="{F4CFEAEC-44C8-4006-A7C2-70AB8132E070}" type="pres">
      <dgm:prSet presAssocID="{1C005291-6471-4DE9-8ACA-188D6EA50277}" presName="hierChild5" presStyleCnt="0"/>
      <dgm:spPr/>
    </dgm:pt>
    <dgm:pt modelId="{29BADD2E-1C67-4A3D-9E6B-69D611722CD3}" type="pres">
      <dgm:prSet presAssocID="{3B3F7FD9-24F3-40EE-90AD-9B3191552C72}" presName="Name35" presStyleLbl="parChTrans1D3" presStyleIdx="5" presStyleCnt="7"/>
      <dgm:spPr/>
    </dgm:pt>
    <dgm:pt modelId="{C16F0510-EFA0-471B-85E9-E562D7592BDA}" type="pres">
      <dgm:prSet presAssocID="{D9C95D2E-2D12-49ED-909B-E5AFB3DC4C7F}" presName="hierRoot2" presStyleCnt="0">
        <dgm:presLayoutVars>
          <dgm:hierBranch val="init"/>
        </dgm:presLayoutVars>
      </dgm:prSet>
      <dgm:spPr/>
    </dgm:pt>
    <dgm:pt modelId="{3ACA61EF-D6AE-4707-8BFA-40D64BEF4582}" type="pres">
      <dgm:prSet presAssocID="{D9C95D2E-2D12-49ED-909B-E5AFB3DC4C7F}" presName="rootComposite" presStyleCnt="0"/>
      <dgm:spPr/>
    </dgm:pt>
    <dgm:pt modelId="{A1AB14D4-A178-4825-9D0E-78D07E086F7D}" type="pres">
      <dgm:prSet presAssocID="{D9C95D2E-2D12-49ED-909B-E5AFB3DC4C7F}" presName="rootText" presStyleLbl="node3" presStyleIdx="5" presStyleCnt="7">
        <dgm:presLayoutVars>
          <dgm:chPref val="3"/>
        </dgm:presLayoutVars>
      </dgm:prSet>
      <dgm:spPr/>
    </dgm:pt>
    <dgm:pt modelId="{D6B84A38-FAC7-4F72-98E8-D14DF1547032}" type="pres">
      <dgm:prSet presAssocID="{D9C95D2E-2D12-49ED-909B-E5AFB3DC4C7F}" presName="rootConnector" presStyleLbl="node3" presStyleIdx="5" presStyleCnt="7"/>
      <dgm:spPr/>
    </dgm:pt>
    <dgm:pt modelId="{F79990EB-982B-4DF7-BEC8-6D254B550E4C}" type="pres">
      <dgm:prSet presAssocID="{D9C95D2E-2D12-49ED-909B-E5AFB3DC4C7F}" presName="hierChild4" presStyleCnt="0"/>
      <dgm:spPr/>
    </dgm:pt>
    <dgm:pt modelId="{D4DCDB34-CC50-48CE-94C7-F4C4C8E909F4}" type="pres">
      <dgm:prSet presAssocID="{A47EA622-8F64-4451-9F7C-9058C92CEE9F}" presName="Name37" presStyleLbl="parChTrans1D4" presStyleIdx="20" presStyleCnt="21"/>
      <dgm:spPr/>
    </dgm:pt>
    <dgm:pt modelId="{FE12B098-0433-4220-89D8-9349D5D09575}" type="pres">
      <dgm:prSet presAssocID="{283E75D2-C697-498B-9374-5DD228294AD0}" presName="hierRoot2" presStyleCnt="0">
        <dgm:presLayoutVars>
          <dgm:hierBranch val="init"/>
        </dgm:presLayoutVars>
      </dgm:prSet>
      <dgm:spPr/>
    </dgm:pt>
    <dgm:pt modelId="{B20CE320-1D53-496E-921F-629E0FE2F63F}" type="pres">
      <dgm:prSet presAssocID="{283E75D2-C697-498B-9374-5DD228294AD0}" presName="rootComposite" presStyleCnt="0"/>
      <dgm:spPr/>
    </dgm:pt>
    <dgm:pt modelId="{E3A255B9-48E6-4C5C-B8D9-4436957C93F3}" type="pres">
      <dgm:prSet presAssocID="{283E75D2-C697-498B-9374-5DD228294AD0}" presName="rootText" presStyleLbl="node4" presStyleIdx="20" presStyleCnt="21">
        <dgm:presLayoutVars>
          <dgm:chPref val="3"/>
        </dgm:presLayoutVars>
      </dgm:prSet>
      <dgm:spPr/>
    </dgm:pt>
    <dgm:pt modelId="{63B9DB1D-6AF4-4048-8B26-DBA50742144A}" type="pres">
      <dgm:prSet presAssocID="{283E75D2-C697-498B-9374-5DD228294AD0}" presName="rootConnector" presStyleLbl="node4" presStyleIdx="20" presStyleCnt="21"/>
      <dgm:spPr/>
    </dgm:pt>
    <dgm:pt modelId="{6B91D1BD-A8AA-4672-9988-5951F2E5ACAB}" type="pres">
      <dgm:prSet presAssocID="{283E75D2-C697-498B-9374-5DD228294AD0}" presName="hierChild4" presStyleCnt="0"/>
      <dgm:spPr/>
    </dgm:pt>
    <dgm:pt modelId="{F3A3C103-95AD-46D0-86A0-8A542DD93BBC}" type="pres">
      <dgm:prSet presAssocID="{283E75D2-C697-498B-9374-5DD228294AD0}" presName="hierChild5" presStyleCnt="0"/>
      <dgm:spPr/>
    </dgm:pt>
    <dgm:pt modelId="{DF60FB37-9E7E-4C23-8C65-1EC3DE76E6FB}" type="pres">
      <dgm:prSet presAssocID="{D9C95D2E-2D12-49ED-909B-E5AFB3DC4C7F}" presName="hierChild5" presStyleCnt="0"/>
      <dgm:spPr/>
    </dgm:pt>
    <dgm:pt modelId="{0610E218-1ADF-475B-A07E-1A2C175A8DDC}" type="pres">
      <dgm:prSet presAssocID="{F1E12D5F-05C0-4CA4-8321-EF45EE4C53B6}" presName="Name35" presStyleLbl="parChTrans1D3" presStyleIdx="6" presStyleCnt="7"/>
      <dgm:spPr/>
    </dgm:pt>
    <dgm:pt modelId="{51348303-9EC7-4FD5-935C-855AA6D4587E}" type="pres">
      <dgm:prSet presAssocID="{532F9ECB-B736-4ABE-AA96-68344E17FE93}" presName="hierRoot2" presStyleCnt="0">
        <dgm:presLayoutVars>
          <dgm:hierBranch val="init"/>
        </dgm:presLayoutVars>
      </dgm:prSet>
      <dgm:spPr/>
    </dgm:pt>
    <dgm:pt modelId="{5F2E8035-9FBE-4EBC-BF46-B75A5C31B2A1}" type="pres">
      <dgm:prSet presAssocID="{532F9ECB-B736-4ABE-AA96-68344E17FE93}" presName="rootComposite" presStyleCnt="0"/>
      <dgm:spPr/>
    </dgm:pt>
    <dgm:pt modelId="{47676A2E-4168-429C-BE8C-A3D294DA0AD6}" type="pres">
      <dgm:prSet presAssocID="{532F9ECB-B736-4ABE-AA96-68344E17FE93}" presName="rootText" presStyleLbl="node3" presStyleIdx="6" presStyleCnt="7" custLinFactNeighborX="-11564" custLinFactNeighborY="-2313">
        <dgm:presLayoutVars>
          <dgm:chPref val="3"/>
        </dgm:presLayoutVars>
      </dgm:prSet>
      <dgm:spPr/>
    </dgm:pt>
    <dgm:pt modelId="{4E1B5ECB-06FB-4B20-AD0F-42F8EAD40654}" type="pres">
      <dgm:prSet presAssocID="{532F9ECB-B736-4ABE-AA96-68344E17FE93}" presName="rootConnector" presStyleLbl="node3" presStyleIdx="6" presStyleCnt="7"/>
      <dgm:spPr/>
    </dgm:pt>
    <dgm:pt modelId="{A07B81B5-B7EA-42D2-BFD0-40B77B7FFA3F}" type="pres">
      <dgm:prSet presAssocID="{532F9ECB-B736-4ABE-AA96-68344E17FE93}" presName="hierChild4" presStyleCnt="0"/>
      <dgm:spPr/>
    </dgm:pt>
    <dgm:pt modelId="{76765329-91DB-48E7-9F7F-9DC236D27485}" type="pres">
      <dgm:prSet presAssocID="{532F9ECB-B736-4ABE-AA96-68344E17FE93}" presName="hierChild5" presStyleCnt="0"/>
      <dgm:spPr/>
    </dgm:pt>
    <dgm:pt modelId="{1DA138FB-A875-48C8-ACB9-70F4BB275716}" type="pres">
      <dgm:prSet presAssocID="{58135677-0A81-4361-B9C9-A005F11157E4}" presName="hierChild5" presStyleCnt="0"/>
      <dgm:spPr/>
    </dgm:pt>
    <dgm:pt modelId="{A5DB6C09-2874-4A40-B4CB-F0AD3E4490FB}" type="pres">
      <dgm:prSet presAssocID="{06002B94-D09E-435C-A5F9-59D3BEF8FC71}" presName="hierChild3" presStyleCnt="0"/>
      <dgm:spPr/>
    </dgm:pt>
  </dgm:ptLst>
  <dgm:cxnLst>
    <dgm:cxn modelId="{A09C4600-A741-4D68-B232-5BAA1200ACF9}" srcId="{3913C865-6E9D-4F48-B0AC-DB66360AB161}" destId="{6C9AED37-C2FB-4552-A93D-FA1079737B5F}" srcOrd="0" destOrd="0" parTransId="{C8259F6A-5BA0-4A96-A09B-032495F6BE68}" sibTransId="{97020CB8-E953-4D36-9B73-3E259093ED8B}"/>
    <dgm:cxn modelId="{152D3E02-D885-4537-8993-79BC676C2E9B}" srcId="{F6382F79-8FA8-413A-BC07-11F00E8E57D3}" destId="{066AB86D-6301-4D7F-BD5D-1F914C195F1E}" srcOrd="1" destOrd="0" parTransId="{D39DA097-4613-4984-9786-255E79BE2D6B}" sibTransId="{5AFB3962-8A6E-4E25-B620-6F5CC12EED37}"/>
    <dgm:cxn modelId="{3001C406-E33D-4F94-A8B9-09FDB2E85728}" type="presOf" srcId="{DAAAF051-89F7-4FE1-9EEC-976056B64CFB}" destId="{73E3B1CC-C012-4D44-9DD8-0993C59B7564}" srcOrd="1" destOrd="0" presId="urn:microsoft.com/office/officeart/2005/8/layout/orgChart1"/>
    <dgm:cxn modelId="{0248410A-6600-45F5-8C6A-4B8424002E5D}" type="presOf" srcId="{D9C95D2E-2D12-49ED-909B-E5AFB3DC4C7F}" destId="{D6B84A38-FAC7-4F72-98E8-D14DF1547032}" srcOrd="1" destOrd="0" presId="urn:microsoft.com/office/officeart/2005/8/layout/orgChart1"/>
    <dgm:cxn modelId="{1366E40D-3DF8-4ECE-95E9-452AD8FD5213}" type="presOf" srcId="{56CD6F77-8242-4C61-8761-EDB5B3688323}" destId="{DC3008FE-CD19-456A-A01A-50749EF77492}" srcOrd="0" destOrd="0" presId="urn:microsoft.com/office/officeart/2005/8/layout/orgChart1"/>
    <dgm:cxn modelId="{CD68630E-E50B-46F2-84BE-C572C87CCE13}" type="presOf" srcId="{532F9ECB-B736-4ABE-AA96-68344E17FE93}" destId="{47676A2E-4168-429C-BE8C-A3D294DA0AD6}" srcOrd="0" destOrd="0" presId="urn:microsoft.com/office/officeart/2005/8/layout/orgChart1"/>
    <dgm:cxn modelId="{55B6BF13-FAB2-492B-83B4-CC32357298E6}" type="presOf" srcId="{26191A03-3627-4E26-AC2F-FFD548AF77D1}" destId="{2D0BE812-9068-44D8-9F2B-06F722AEE7FE}" srcOrd="1" destOrd="0" presId="urn:microsoft.com/office/officeart/2005/8/layout/orgChart1"/>
    <dgm:cxn modelId="{C52BD913-BF64-4933-92A8-209624265CF0}" type="presOf" srcId="{1C005291-6471-4DE9-8ACA-188D6EA50277}" destId="{CE9B3F3F-0753-4FDB-8553-F978A8D06C9D}" srcOrd="1" destOrd="0" presId="urn:microsoft.com/office/officeart/2005/8/layout/orgChart1"/>
    <dgm:cxn modelId="{35D5D913-016A-467D-BA52-5BEA35CFEADA}" type="presOf" srcId="{405FA35C-AF76-4CA8-845A-B6D72FCFC530}" destId="{A71D1EC5-AC46-4350-8796-307499F8CBA7}" srcOrd="0" destOrd="0" presId="urn:microsoft.com/office/officeart/2005/8/layout/orgChart1"/>
    <dgm:cxn modelId="{81DAD214-B453-4A97-9685-253F81E53BA3}" type="presOf" srcId="{1EDBB388-C7ED-4F47-AFA1-49017C082704}" destId="{EDC30AD0-1BF1-49DE-BBBF-050125F44676}" srcOrd="0" destOrd="0" presId="urn:microsoft.com/office/officeart/2005/8/layout/orgChart1"/>
    <dgm:cxn modelId="{85FE2315-B69A-4ADF-AFCF-1B9EA04444BF}" srcId="{58135677-0A81-4361-B9C9-A005F11157E4}" destId="{2B93744D-7D5D-4AAA-A9D4-065B183D1508}" srcOrd="3" destOrd="0" parTransId="{4F12B914-2A21-4B9A-BCCA-0B4E9CFC9DBE}" sibTransId="{C5C61659-B650-49D2-92E0-0CB04718A199}"/>
    <dgm:cxn modelId="{2CB90317-0024-42D8-AD67-0C153E9CED05}" type="presOf" srcId="{D309BC98-6817-470C-834D-F60C0E6C6A98}" destId="{2D643B93-8C2C-43F5-B745-79C7E0F0F249}" srcOrd="0" destOrd="0" presId="urn:microsoft.com/office/officeart/2005/8/layout/orgChart1"/>
    <dgm:cxn modelId="{483BD428-7A66-49EC-B555-256E963A3F14}" type="presOf" srcId="{1A09EF79-2F34-4D48-9D45-887EDCC7FCA1}" destId="{9BF330ED-773F-45AE-BFF2-2A9E6324428E}" srcOrd="0" destOrd="0" presId="urn:microsoft.com/office/officeart/2005/8/layout/orgChart1"/>
    <dgm:cxn modelId="{333EF22B-1426-4D87-A095-0FA1569ADF71}" srcId="{F44A1BDD-EE53-4FA6-A4D3-0B829201FF10}" destId="{35276BF8-A74A-468D-873C-DBC02263A51E}" srcOrd="3" destOrd="0" parTransId="{5357A782-4AA4-4718-8F33-A7151D18ACA4}" sibTransId="{4B62BB13-12CE-42C0-9C86-A45EF725D9E2}"/>
    <dgm:cxn modelId="{B24A532C-1FFD-463B-9DF4-A42C6968EEFF}" type="presOf" srcId="{23429310-4C8D-405D-9D1B-051FAF4BD8D0}" destId="{53B19617-CAF6-4657-8034-2FD135E0A41A}" srcOrd="0" destOrd="0" presId="urn:microsoft.com/office/officeart/2005/8/layout/orgChart1"/>
    <dgm:cxn modelId="{ED90CD2C-175F-4129-B954-454BF8D39B17}" type="presOf" srcId="{FDC28D2D-E716-40BA-A482-2A6FA920FE7F}" destId="{BB2AB050-A336-4CBA-B88A-568BBE74D817}" srcOrd="0" destOrd="0" presId="urn:microsoft.com/office/officeart/2005/8/layout/orgChart1"/>
    <dgm:cxn modelId="{F0AD3330-B749-4036-B3F0-8DFE2F7BE011}" type="presOf" srcId="{03469359-AFA7-4A93-BBD2-DF4E33A29FC9}" destId="{CA5243E6-FBF9-46A3-87A8-AA20927F9878}" srcOrd="0" destOrd="0" presId="urn:microsoft.com/office/officeart/2005/8/layout/orgChart1"/>
    <dgm:cxn modelId="{ED86B531-BFE1-4E8B-AC0B-1E2051768192}" type="presOf" srcId="{C8259F6A-5BA0-4A96-A09B-032495F6BE68}" destId="{49CB6210-5E09-4DEF-89EA-CEE98677EED7}" srcOrd="0" destOrd="0" presId="urn:microsoft.com/office/officeart/2005/8/layout/orgChart1"/>
    <dgm:cxn modelId="{5CD88636-654B-48A2-81D4-A553EE66ABC6}" srcId="{58135677-0A81-4361-B9C9-A005F11157E4}" destId="{532F9ECB-B736-4ABE-AA96-68344E17FE93}" srcOrd="6" destOrd="0" parTransId="{F1E12D5F-05C0-4CA4-8321-EF45EE4C53B6}" sibTransId="{1F82CBCA-B966-44EB-9672-662AD106BF77}"/>
    <dgm:cxn modelId="{8433173E-BB06-4084-B29B-29BF1FAADBDC}" type="presOf" srcId="{F6382F79-8FA8-413A-BC07-11F00E8E57D3}" destId="{6F434215-4ABF-4C81-9637-0ED6311BDCED}" srcOrd="1" destOrd="0" presId="urn:microsoft.com/office/officeart/2005/8/layout/orgChart1"/>
    <dgm:cxn modelId="{8DF6053F-2D25-4423-8A6E-BF9152279F17}" srcId="{D9C95D2E-2D12-49ED-909B-E5AFB3DC4C7F}" destId="{283E75D2-C697-498B-9374-5DD228294AD0}" srcOrd="0" destOrd="0" parTransId="{A47EA622-8F64-4451-9F7C-9058C92CEE9F}" sibTransId="{C1551ABE-84CF-49EF-B067-52EC56FA3303}"/>
    <dgm:cxn modelId="{8D000140-0B27-419A-AEF9-3F201EA41A1D}" type="presOf" srcId="{2B93744D-7D5D-4AAA-A9D4-065B183D1508}" destId="{9FC59AA9-3FB9-48CD-A049-2DE9A8B55DEA}" srcOrd="1" destOrd="0" presId="urn:microsoft.com/office/officeart/2005/8/layout/orgChart1"/>
    <dgm:cxn modelId="{46983940-783C-4773-B1D7-7DAE325A87D1}" srcId="{5C7BC345-B12F-49C2-87CA-37D3378B1C6C}" destId="{401115A0-4D38-46A8-B3C5-D7E892CAAD5B}" srcOrd="2" destOrd="0" parTransId="{627B2C3E-2E5E-42E2-9BF9-31A8B335D95D}" sibTransId="{055A4AB0-CFB1-4DA5-8322-C13C6A5A9BAA}"/>
    <dgm:cxn modelId="{E4C20E5F-ED3A-4FEE-8517-4408C48A20BF}" type="presOf" srcId="{03469359-AFA7-4A93-BBD2-DF4E33A29FC9}" destId="{3A31735B-831C-48B7-AC71-90B960240A14}" srcOrd="1" destOrd="0" presId="urn:microsoft.com/office/officeart/2005/8/layout/orgChart1"/>
    <dgm:cxn modelId="{544F285F-15BB-42E1-AA33-C48BECABC380}" srcId="{5C7BC345-B12F-49C2-87CA-37D3378B1C6C}" destId="{607D7892-2569-4A31-BE0E-822482C37F3D}" srcOrd="1" destOrd="0" parTransId="{60819F5D-1058-4309-8330-F01818CD4500}" sibTransId="{CA0F073D-6DD8-4708-B741-F352F4696726}"/>
    <dgm:cxn modelId="{1B743E62-387B-4A26-86D9-F944FEEB584E}" type="presOf" srcId="{607D7892-2569-4A31-BE0E-822482C37F3D}" destId="{B28B4B3E-A788-4769-AA87-46CAA76CAEA8}" srcOrd="1" destOrd="0" presId="urn:microsoft.com/office/officeart/2005/8/layout/orgChart1"/>
    <dgm:cxn modelId="{EEA14464-F72D-4C91-967B-AFED44BC35CF}" srcId="{1C5ED702-6D00-4A1D-9C7A-436C60845140}" destId="{5C7BC345-B12F-49C2-87CA-37D3378B1C6C}" srcOrd="2" destOrd="0" parTransId="{FE922007-D0EF-49DB-B0DC-7D5928EC21F1}" sibTransId="{FE337125-7638-4C49-96A3-C936F78FC012}"/>
    <dgm:cxn modelId="{EA8F1945-F85C-41EF-B067-F4E5C80F0A35}" type="presOf" srcId="{33A68A52-6159-4DAE-B33E-2FF719C49558}" destId="{002AD001-EA03-4060-AE4E-EED9B0E8E8C5}" srcOrd="1" destOrd="0" presId="urn:microsoft.com/office/officeart/2005/8/layout/orgChart1"/>
    <dgm:cxn modelId="{B5055266-9958-4FC3-9EDE-13FDE5A91E90}" type="presOf" srcId="{5160DD23-E7DF-4F0C-996C-9BEB009EEF58}" destId="{2D7F166B-A874-4DAB-8BC2-BC8F693AF8A8}" srcOrd="1" destOrd="0" presId="urn:microsoft.com/office/officeart/2005/8/layout/orgChart1"/>
    <dgm:cxn modelId="{09089046-6B03-4C5F-980E-886288D14CF9}" type="presOf" srcId="{24DEFE67-353B-4E4C-BB64-48170CA6D166}" destId="{00ED9990-A0CC-4608-9427-1ECE9162B7E7}" srcOrd="0" destOrd="0" presId="urn:microsoft.com/office/officeart/2005/8/layout/orgChart1"/>
    <dgm:cxn modelId="{E9389E46-22BD-425F-B903-6385D5E0310E}" type="presOf" srcId="{7DB54FCA-DCE7-4972-AF17-E6160395D967}" destId="{AF4C31F8-A271-48CF-BCCC-51BE3B598757}" srcOrd="0" destOrd="0" presId="urn:microsoft.com/office/officeart/2005/8/layout/orgChart1"/>
    <dgm:cxn modelId="{00EB1B49-B4FB-4414-91A6-12E22AE653FA}" srcId="{1C5ED702-6D00-4A1D-9C7A-436C60845140}" destId="{F6382F79-8FA8-413A-BC07-11F00E8E57D3}" srcOrd="4" destOrd="0" parTransId="{E84D9619-23CD-44F0-A667-E6875462C6FF}" sibTransId="{F3CACBED-57C3-48C1-9431-7DFA8BD8D834}"/>
    <dgm:cxn modelId="{2EAF7449-D5E7-4B55-8185-3B53D7D22E07}" type="presOf" srcId="{F1E12D5F-05C0-4CA4-8321-EF45EE4C53B6}" destId="{0610E218-1ADF-475B-A07E-1A2C175A8DDC}" srcOrd="0" destOrd="0" presId="urn:microsoft.com/office/officeart/2005/8/layout/orgChart1"/>
    <dgm:cxn modelId="{D0AFD86B-F17E-40CC-99ED-513EB5EE6F52}" srcId="{F44A1BDD-EE53-4FA6-A4D3-0B829201FF10}" destId="{1A09EF79-2F34-4D48-9D45-887EDCC7FCA1}" srcOrd="0" destOrd="0" parTransId="{259E44B6-650C-464D-A315-0E0EC8C2618D}" sibTransId="{EEF55274-BCF1-4AE1-B228-BF3DF89E7C75}"/>
    <dgm:cxn modelId="{413A164C-AC46-4A51-82B0-860DC9661F6A}" srcId="{F6382F79-8FA8-413A-BC07-11F00E8E57D3}" destId="{D2B7C597-E0CC-4804-9F07-28B1C75E77FD}" srcOrd="2" destOrd="0" parTransId="{6C4B7B2F-082D-414F-A829-F6A5F5ACF18F}" sibTransId="{E5389AB8-FF3D-48BA-8F6A-78B91209BD47}"/>
    <dgm:cxn modelId="{5E912C4E-A018-4BA9-9AE6-C2F5A8F42254}" type="presOf" srcId="{283E75D2-C697-498B-9374-5DD228294AD0}" destId="{E3A255B9-48E6-4C5C-B8D9-4436957C93F3}" srcOrd="0" destOrd="0" presId="urn:microsoft.com/office/officeart/2005/8/layout/orgChart1"/>
    <dgm:cxn modelId="{F7D3944F-9EF9-4FF3-9C59-435E020F2274}" type="presOf" srcId="{35276BF8-A74A-468D-873C-DBC02263A51E}" destId="{ABDF2FD1-1E0C-434E-AE15-E15860706D31}" srcOrd="1" destOrd="0" presId="urn:microsoft.com/office/officeart/2005/8/layout/orgChart1"/>
    <dgm:cxn modelId="{7FF8E56F-BA82-457A-8349-98120396FC99}" type="presOf" srcId="{DAAAF051-89F7-4FE1-9EEC-976056B64CFB}" destId="{B94123BB-5C69-4716-9BD0-9FEA21E7532F}" srcOrd="0" destOrd="0" presId="urn:microsoft.com/office/officeart/2005/8/layout/orgChart1"/>
    <dgm:cxn modelId="{78388250-53D9-4284-9305-869D61F0D0DD}" type="presOf" srcId="{58135677-0A81-4361-B9C9-A005F11157E4}" destId="{5C13A3CF-5101-4405-863A-A3E2CCBB22AB}" srcOrd="0" destOrd="0" presId="urn:microsoft.com/office/officeart/2005/8/layout/orgChart1"/>
    <dgm:cxn modelId="{56ADC770-ED9F-4FA3-ACE7-519E475F85C6}" type="presOf" srcId="{11A47870-75E9-4C3F-892B-448E73141CBD}" destId="{50F93FED-FAD8-4246-8380-95E5FD1CAFCF}" srcOrd="0" destOrd="0" presId="urn:microsoft.com/office/officeart/2005/8/layout/orgChart1"/>
    <dgm:cxn modelId="{B3C81674-566B-4DE6-B99B-EFDB6E9048EF}" type="presOf" srcId="{F44A1BDD-EE53-4FA6-A4D3-0B829201FF10}" destId="{DF5D379C-685C-4EFA-A4EF-BCD9612D0EB7}" srcOrd="1" destOrd="0" presId="urn:microsoft.com/office/officeart/2005/8/layout/orgChart1"/>
    <dgm:cxn modelId="{1155A555-D369-4B71-B04A-8190D91BC24D}" type="presOf" srcId="{6C4B7B2F-082D-414F-A829-F6A5F5ACF18F}" destId="{C329D143-7DCC-4E3C-93A7-F623D9BEF44D}" srcOrd="0" destOrd="0" presId="urn:microsoft.com/office/officeart/2005/8/layout/orgChart1"/>
    <dgm:cxn modelId="{7080F656-BD51-4D2E-8C96-C22605004898}" type="presOf" srcId="{0FE97F07-166E-4646-8F3F-713BE98FF8D3}" destId="{21DFCF00-BA3A-442D-A302-E8B9B273D4D7}" srcOrd="0" destOrd="0" presId="urn:microsoft.com/office/officeart/2005/8/layout/orgChart1"/>
    <dgm:cxn modelId="{154E7D57-F519-42DC-94D7-7FAD20A98350}" type="presOf" srcId="{405FA35C-AF76-4CA8-845A-B6D72FCFC530}" destId="{803B10E7-9A21-479F-BCE5-B6DB9567BD34}" srcOrd="1" destOrd="0" presId="urn:microsoft.com/office/officeart/2005/8/layout/orgChart1"/>
    <dgm:cxn modelId="{3290AE57-FC0A-47D3-ABCD-E9CE4D64AD3E}" type="presOf" srcId="{D2B7C597-E0CC-4804-9F07-28B1C75E77FD}" destId="{4E86BF0C-5DA6-45DC-9A87-F5A4DD35AF49}" srcOrd="1" destOrd="0" presId="urn:microsoft.com/office/officeart/2005/8/layout/orgChart1"/>
    <dgm:cxn modelId="{765CF378-6E2E-4001-AA20-7F2C637C8A48}" srcId="{1C005291-6471-4DE9-8ACA-188D6EA50277}" destId="{405FA35C-AF76-4CA8-845A-B6D72FCFC530}" srcOrd="0" destOrd="0" parTransId="{C4F89973-2A75-46D8-B0A9-E7C7176B93A4}" sibTransId="{1284C9E1-718D-4733-A576-0BBA8649E5A2}"/>
    <dgm:cxn modelId="{7E992779-F68F-4C4D-94F4-98347FE2138F}" type="presOf" srcId="{C040A107-5400-476F-9196-289C01A5ECAB}" destId="{4B73B73B-8152-4B3B-B8D1-8B79DD44CD90}" srcOrd="0" destOrd="0" presId="urn:microsoft.com/office/officeart/2005/8/layout/orgChart1"/>
    <dgm:cxn modelId="{19CA6E79-C500-411D-84AC-305B4BABCBB3}" type="presOf" srcId="{2CB46D88-A37E-4B7C-A4D0-EE01A2D063D2}" destId="{BB9456C3-1730-4153-BAC1-76A7B7DE168E}" srcOrd="0" destOrd="0" presId="urn:microsoft.com/office/officeart/2005/8/layout/orgChart1"/>
    <dgm:cxn modelId="{6016477E-9758-4E12-8BE3-BC4EBD64279D}" srcId="{58135677-0A81-4361-B9C9-A005F11157E4}" destId="{DAAAF051-89F7-4FE1-9EEC-976056B64CFB}" srcOrd="1" destOrd="0" parTransId="{5D9A5639-78F5-48AE-945F-B3918B713637}" sibTransId="{2E8C4EF5-00F0-49CF-AD42-CFB449D0DF6F}"/>
    <dgm:cxn modelId="{80A0527F-DF18-420C-914D-CC691F3C81D3}" type="presOf" srcId="{5160DD23-E7DF-4F0C-996C-9BEB009EEF58}" destId="{7966A048-677B-4B2A-BF85-0A786EFFCBDA}" srcOrd="0" destOrd="0" presId="urn:microsoft.com/office/officeart/2005/8/layout/orgChart1"/>
    <dgm:cxn modelId="{880E9781-55DF-4810-A1B7-F85A052FF854}" type="presOf" srcId="{11A47870-75E9-4C3F-892B-448E73141CBD}" destId="{CDD983B0-8FE9-496E-A348-1717DA1A98BF}" srcOrd="1" destOrd="0" presId="urn:microsoft.com/office/officeart/2005/8/layout/orgChart1"/>
    <dgm:cxn modelId="{C6FC4E82-F658-476F-BCEF-CEFA8A6D8AAA}" type="presOf" srcId="{D39DA097-4613-4984-9786-255E79BE2D6B}" destId="{9BA2ED22-69BD-4805-A073-91F9075D2B46}" srcOrd="0" destOrd="0" presId="urn:microsoft.com/office/officeart/2005/8/layout/orgChart1"/>
    <dgm:cxn modelId="{D8BBF282-BD4F-4393-8C79-6D0670BE76AA}" type="presOf" srcId="{532F9ECB-B736-4ABE-AA96-68344E17FE93}" destId="{4E1B5ECB-06FB-4B20-AD0F-42F8EAD40654}" srcOrd="1" destOrd="0" presId="urn:microsoft.com/office/officeart/2005/8/layout/orgChart1"/>
    <dgm:cxn modelId="{A88DA087-37FE-47D7-B59C-C8BC0F441907}" type="presOf" srcId="{401115A0-4D38-46A8-B3C5-D7E892CAAD5B}" destId="{1FB57A76-326D-4FDB-B50C-BD51CD959EAF}" srcOrd="1" destOrd="0" presId="urn:microsoft.com/office/officeart/2005/8/layout/orgChart1"/>
    <dgm:cxn modelId="{447D098C-5ED5-4CDC-8772-F5D1ECC9BA3B}" type="presOf" srcId="{6C9AED37-C2FB-4552-A93D-FA1079737B5F}" destId="{8F505BCA-2F5E-40B3-B581-0173C2163B88}" srcOrd="1" destOrd="0" presId="urn:microsoft.com/office/officeart/2005/8/layout/orgChart1"/>
    <dgm:cxn modelId="{4CA22F8C-5D8F-4AD8-9AC8-24F02A2D58B5}" type="presOf" srcId="{2CB46D88-A37E-4B7C-A4D0-EE01A2D063D2}" destId="{D985CD73-610D-4AD1-8D26-E8075C757933}" srcOrd="1" destOrd="0" presId="urn:microsoft.com/office/officeart/2005/8/layout/orgChart1"/>
    <dgm:cxn modelId="{C0C70E8D-9F04-472E-8162-02AD0AE082D1}" srcId="{0FE97F07-166E-4646-8F3F-713BE98FF8D3}" destId="{06002B94-D09E-435C-A5F9-59D3BEF8FC71}" srcOrd="0" destOrd="0" parTransId="{187FCC7C-B3F3-47E0-9469-7908E98C35FA}" sibTransId="{4E74CEF0-454A-4E7B-ADC8-EEA7E2B8954C}"/>
    <dgm:cxn modelId="{1C2C928D-1B05-4B2B-88B8-AE91091DA785}" srcId="{58135677-0A81-4361-B9C9-A005F11157E4}" destId="{1C5ED702-6D00-4A1D-9C7A-436C60845140}" srcOrd="0" destOrd="0" parTransId="{24DEFE67-353B-4E4C-BB64-48170CA6D166}" sibTransId="{5BFD32FE-4E9A-4689-9FDC-2806610433E3}"/>
    <dgm:cxn modelId="{6A82BD8F-3CF9-42D2-A59D-DA1F1FCD6DAA}" srcId="{58135677-0A81-4361-B9C9-A005F11157E4}" destId="{1C005291-6471-4DE9-8ACA-188D6EA50277}" srcOrd="4" destOrd="0" parTransId="{536DBBFB-BD13-402F-8846-0A565BCC62DE}" sibTransId="{2E6787E8-694E-4457-B054-9850889B21DA}"/>
    <dgm:cxn modelId="{CA192190-A982-41F6-961F-BC68454E9B42}" type="presOf" srcId="{627B2C3E-2E5E-42E2-9BF9-31A8B335D95D}" destId="{14BD35A4-B0E3-4085-9410-A46734042A6B}" srcOrd="0" destOrd="0" presId="urn:microsoft.com/office/officeart/2005/8/layout/orgChart1"/>
    <dgm:cxn modelId="{D7272790-42E8-4B4B-9F87-9EEE6EF70411}" srcId="{F44A1BDD-EE53-4FA6-A4D3-0B829201FF10}" destId="{26191A03-3627-4E26-AC2F-FFD548AF77D1}" srcOrd="1" destOrd="0" parTransId="{3070FEAF-E714-4809-86DA-9D9DC615893B}" sibTransId="{9E01997C-7A21-4C58-B175-BD8FFF5F622A}"/>
    <dgm:cxn modelId="{2C8D3090-AAD7-458A-A6E9-F0E52C54277E}" type="presOf" srcId="{06002B94-D09E-435C-A5F9-59D3BEF8FC71}" destId="{9F3F7C96-9EB6-4B0C-996D-E8AFB782C371}" srcOrd="1" destOrd="0" presId="urn:microsoft.com/office/officeart/2005/8/layout/orgChart1"/>
    <dgm:cxn modelId="{A69FD090-F6BA-4729-9AE5-8E6B6269B8DD}" type="presOf" srcId="{3B3F7FD9-24F3-40EE-90AD-9B3191552C72}" destId="{29BADD2E-1C67-4A3D-9E6B-69D611722CD3}" srcOrd="0" destOrd="0" presId="urn:microsoft.com/office/officeart/2005/8/layout/orgChart1"/>
    <dgm:cxn modelId="{9700F493-A30D-4A69-958D-F7D29A23AACD}" type="presOf" srcId="{1C005291-6471-4DE9-8ACA-188D6EA50277}" destId="{06DD17CA-236E-4859-BB61-E237B20DA056}" srcOrd="0" destOrd="0" presId="urn:microsoft.com/office/officeart/2005/8/layout/orgChart1"/>
    <dgm:cxn modelId="{FEF70697-B6DE-4FA0-BD13-51068B31F0D7}" type="presOf" srcId="{F44A1BDD-EE53-4FA6-A4D3-0B829201FF10}" destId="{E5C5F92F-6F25-462F-AF8F-6112574BA167}" srcOrd="0" destOrd="0" presId="urn:microsoft.com/office/officeart/2005/8/layout/orgChart1"/>
    <dgm:cxn modelId="{AD747899-E595-4714-A2FE-625C2B073CBB}" type="presOf" srcId="{B32C5031-339E-4558-95D8-EF4E2639C511}" destId="{FF662F56-BB04-4B25-A305-7C6DAE5E6114}" srcOrd="0" destOrd="0" presId="urn:microsoft.com/office/officeart/2005/8/layout/orgChart1"/>
    <dgm:cxn modelId="{60FA1F9A-0D89-429D-A24E-2BD50B166BD1}" type="presOf" srcId="{536DBBFB-BD13-402F-8846-0A565BCC62DE}" destId="{A0FA2BE3-C156-41E9-B6B1-FB6E8B146081}" srcOrd="0" destOrd="0" presId="urn:microsoft.com/office/officeart/2005/8/layout/orgChart1"/>
    <dgm:cxn modelId="{0FCE829B-287C-47DA-8419-97AC9F473B50}" type="presOf" srcId="{58135677-0A81-4361-B9C9-A005F11157E4}" destId="{9A1EC101-B2CE-405F-9790-44F992781CFD}" srcOrd="1" destOrd="0" presId="urn:microsoft.com/office/officeart/2005/8/layout/orgChart1"/>
    <dgm:cxn modelId="{90AFDD9C-50A8-4496-BEDB-CA0375F7B325}" type="presOf" srcId="{259E44B6-650C-464D-A315-0E0EC8C2618D}" destId="{74AB3598-72BD-488E-B783-ED7130A6023F}" srcOrd="0" destOrd="0" presId="urn:microsoft.com/office/officeart/2005/8/layout/orgChart1"/>
    <dgm:cxn modelId="{CE163EA0-061B-43BF-BE7A-5687364F7D9C}" type="presOf" srcId="{1C5ED702-6D00-4A1D-9C7A-436C60845140}" destId="{8CC729E0-048C-4A38-B2A1-88086D3534AD}" srcOrd="0" destOrd="0" presId="urn:microsoft.com/office/officeart/2005/8/layout/orgChart1"/>
    <dgm:cxn modelId="{4A5B5EA0-5177-45F3-A076-58519F043E90}" type="presOf" srcId="{1C5ED702-6D00-4A1D-9C7A-436C60845140}" destId="{ABBEBFB4-6AC5-4350-B24F-31FE8D5C42C9}" srcOrd="1" destOrd="0" presId="urn:microsoft.com/office/officeart/2005/8/layout/orgChart1"/>
    <dgm:cxn modelId="{3E38BAA0-833C-4F2E-B707-FAE5E797C27D}" srcId="{F6382F79-8FA8-413A-BC07-11F00E8E57D3}" destId="{565CBF4F-A42E-4D01-A709-29D66DA69EF8}" srcOrd="0" destOrd="0" parTransId="{80C2768C-C89E-4743-BB39-D81F455B3E13}" sibTransId="{AE468AC4-0497-4875-B107-CE2E121249EA}"/>
    <dgm:cxn modelId="{F93262A1-768A-4C33-A70D-CDF6104A0925}" type="presOf" srcId="{06002B94-D09E-435C-A5F9-59D3BEF8FC71}" destId="{B38EFBAE-F24D-4607-8056-41FD753C7A0D}" srcOrd="0" destOrd="0" presId="urn:microsoft.com/office/officeart/2005/8/layout/orgChart1"/>
    <dgm:cxn modelId="{9C3FF7A2-C17A-4B26-B03D-79ADCDF62B6E}" srcId="{06002B94-D09E-435C-A5F9-59D3BEF8FC71}" destId="{58135677-0A81-4361-B9C9-A005F11157E4}" srcOrd="0" destOrd="0" parTransId="{BE5A2021-5D71-4F6D-9B0F-CEFD2D18CB1F}" sibTransId="{F9112C6D-31DC-40AE-B9B0-55E3CD1C3285}"/>
    <dgm:cxn modelId="{A8CE5BA3-E034-4777-AA89-C02B7BC8923F}" srcId="{2B93744D-7D5D-4AAA-A9D4-065B183D1508}" destId="{29263A8B-4A11-4822-AD15-431E52FFAF13}" srcOrd="0" destOrd="0" parTransId="{39F3A1B3-C5AD-41EA-A377-1B5D6E2C7C40}" sibTransId="{06241E17-B881-4602-AD89-6F026FAF46C6}"/>
    <dgm:cxn modelId="{48E047A3-4AA3-436A-B063-1B1352F86414}" type="presOf" srcId="{401115A0-4D38-46A8-B3C5-D7E892CAAD5B}" destId="{6D9C4384-C201-400C-9F66-F43E8A6B3EBC}" srcOrd="0" destOrd="0" presId="urn:microsoft.com/office/officeart/2005/8/layout/orgChart1"/>
    <dgm:cxn modelId="{CE8968A5-FD22-4786-A95B-38F1CC4F9B36}" srcId="{58135677-0A81-4361-B9C9-A005F11157E4}" destId="{D9C95D2E-2D12-49ED-909B-E5AFB3DC4C7F}" srcOrd="5" destOrd="0" parTransId="{3B3F7FD9-24F3-40EE-90AD-9B3191552C72}" sibTransId="{E807DB60-EB66-4A7B-BE3B-2A740E7A7275}"/>
    <dgm:cxn modelId="{B6F400A7-4CFE-4B17-8317-ADCBF1541532}" type="presOf" srcId="{29263A8B-4A11-4822-AD15-431E52FFAF13}" destId="{92232E44-81BB-40C5-A7C3-CE271BCEF949}" srcOrd="1" destOrd="0" presId="urn:microsoft.com/office/officeart/2005/8/layout/orgChart1"/>
    <dgm:cxn modelId="{6EC03AAA-2E16-460D-9F43-F09F6CD43951}" type="presOf" srcId="{5C7BC345-B12F-49C2-87CA-37D3378B1C6C}" destId="{EECD4322-B1C1-4625-BE92-0544D012A0A1}" srcOrd="1" destOrd="0" presId="urn:microsoft.com/office/officeart/2005/8/layout/orgChart1"/>
    <dgm:cxn modelId="{1B7A66AC-6960-4521-BD0A-5A6A4AD3E4D6}" type="presOf" srcId="{A47EA622-8F64-4451-9F7C-9058C92CEE9F}" destId="{D4DCDB34-CC50-48CE-94C7-F4C4C8E909F4}" srcOrd="0" destOrd="0" presId="urn:microsoft.com/office/officeart/2005/8/layout/orgChart1"/>
    <dgm:cxn modelId="{3EA700AF-E93D-4B9E-A444-E0A1BFF574A5}" type="presOf" srcId="{E84D9619-23CD-44F0-A667-E6875462C6FF}" destId="{DC35AB3D-4FFB-4232-8E26-A0C9BC127F3B}" srcOrd="0" destOrd="0" presId="urn:microsoft.com/office/officeart/2005/8/layout/orgChart1"/>
    <dgm:cxn modelId="{9120B5B0-A37E-445F-B170-47238033E375}" type="presOf" srcId="{39F3A1B3-C5AD-41EA-A377-1B5D6E2C7C40}" destId="{84BFBE6D-66A9-4778-A101-1E980BBC3A7C}" srcOrd="0" destOrd="0" presId="urn:microsoft.com/office/officeart/2005/8/layout/orgChart1"/>
    <dgm:cxn modelId="{0A4508B1-0944-4E35-B937-CFC9CB83E488}" type="presOf" srcId="{6C9AED37-C2FB-4552-A93D-FA1079737B5F}" destId="{39C8021A-BF60-40BA-A52D-BE2ADCFBB379}" srcOrd="0" destOrd="0" presId="urn:microsoft.com/office/officeart/2005/8/layout/orgChart1"/>
    <dgm:cxn modelId="{F2FBC3B6-13A4-4679-89AC-90A3491DDD70}" type="presOf" srcId="{F6382F79-8FA8-413A-BC07-11F00E8E57D3}" destId="{924A49D4-E97A-4CD2-8F7D-BC5B66DBB0A4}" srcOrd="0" destOrd="0" presId="urn:microsoft.com/office/officeart/2005/8/layout/orgChart1"/>
    <dgm:cxn modelId="{007D8DB7-0DC6-419B-8A33-DF0C7643721B}" type="presOf" srcId="{4F12B914-2A21-4B9A-BCCA-0B4E9CFC9DBE}" destId="{892868DE-FA3F-456B-9909-93FE86A72657}" srcOrd="0" destOrd="0" presId="urn:microsoft.com/office/officeart/2005/8/layout/orgChart1"/>
    <dgm:cxn modelId="{81B429BB-A6AB-4FC8-AE68-A394161A17D2}" type="presOf" srcId="{3913C865-6E9D-4F48-B0AC-DB66360AB161}" destId="{6B341FC9-A90F-461D-B748-FE2200498CFB}" srcOrd="1" destOrd="0" presId="urn:microsoft.com/office/officeart/2005/8/layout/orgChart1"/>
    <dgm:cxn modelId="{C1725EBB-D1B1-468A-AD9A-2115B140FC77}" srcId="{5C7BC345-B12F-49C2-87CA-37D3378B1C6C}" destId="{2CB46D88-A37E-4B7C-A4D0-EE01A2D063D2}" srcOrd="0" destOrd="0" parTransId="{1EDBB388-C7ED-4F47-AFA1-49017C082704}" sibTransId="{4DCE9E63-C707-4027-A646-4107A6B9145D}"/>
    <dgm:cxn modelId="{5EDA47BB-3B6C-4222-BB15-3350BDC5F690}" type="presOf" srcId="{565CBF4F-A42E-4D01-A709-29D66DA69EF8}" destId="{11C4C407-B825-41A1-A06D-34D4CDAFE85A}" srcOrd="1" destOrd="0" presId="urn:microsoft.com/office/officeart/2005/8/layout/orgChart1"/>
    <dgm:cxn modelId="{77742ABF-B87C-45AC-B03C-2F9B0B3F265A}" type="presOf" srcId="{FE922007-D0EF-49DB-B0DC-7D5928EC21F1}" destId="{24067E5A-491A-4221-9208-DC9724217A52}" srcOrd="0" destOrd="0" presId="urn:microsoft.com/office/officeart/2005/8/layout/orgChart1"/>
    <dgm:cxn modelId="{0C2F3FC0-502D-4A40-AC7F-C3D44D871286}" type="presOf" srcId="{066AB86D-6301-4D7F-BD5D-1F914C195F1E}" destId="{CE1611B5-8817-49E5-A4B9-0BF2081E8EB7}" srcOrd="1" destOrd="0" presId="urn:microsoft.com/office/officeart/2005/8/layout/orgChart1"/>
    <dgm:cxn modelId="{875D8EC2-ACBE-4413-B9BA-A336FBCD500D}" type="presOf" srcId="{35276BF8-A74A-468D-873C-DBC02263A51E}" destId="{901B3078-2251-40B5-B048-64F4648E7EA1}" srcOrd="0" destOrd="0" presId="urn:microsoft.com/office/officeart/2005/8/layout/orgChart1"/>
    <dgm:cxn modelId="{5A0BF4C3-C73D-4195-9511-2C96DB097820}" srcId="{1C5ED702-6D00-4A1D-9C7A-436C60845140}" destId="{B32C5031-339E-4558-95D8-EF4E2639C511}" srcOrd="1" destOrd="0" parTransId="{56CD6F77-8242-4C61-8761-EDB5B3688323}" sibTransId="{3D5ECA8B-E21D-4D67-94C7-256E570CA78B}"/>
    <dgm:cxn modelId="{BBC9F9C4-1C5E-4922-BDBC-0FEE1E44561E}" type="presOf" srcId="{3913C865-6E9D-4F48-B0AC-DB66360AB161}" destId="{E060FA0A-299D-41EB-81B2-4FB6923B8E59}" srcOrd="0" destOrd="0" presId="urn:microsoft.com/office/officeart/2005/8/layout/orgChart1"/>
    <dgm:cxn modelId="{333193C8-9D8A-4981-976E-AED1F060FA95}" type="presOf" srcId="{D2B7C597-E0CC-4804-9F07-28B1C75E77FD}" destId="{C9D8AB3C-E5B7-4D82-A08A-E98580C5055B}" srcOrd="0" destOrd="0" presId="urn:microsoft.com/office/officeart/2005/8/layout/orgChart1"/>
    <dgm:cxn modelId="{D2BEA5C9-7E9D-42EA-8C69-4581DD4C7F98}" type="presOf" srcId="{B0602058-1197-4BE6-9C76-72F957B406C1}" destId="{AD500E65-95BF-4AC7-B6A3-DE665825F8B8}" srcOrd="0" destOrd="0" presId="urn:microsoft.com/office/officeart/2005/8/layout/orgChart1"/>
    <dgm:cxn modelId="{B33DA7CA-F10A-49A8-864B-DBD404E30DE4}" srcId="{1C5ED702-6D00-4A1D-9C7A-436C60845140}" destId="{F44A1BDD-EE53-4FA6-A4D3-0B829201FF10}" srcOrd="3" destOrd="0" parTransId="{FDC28D2D-E716-40BA-A482-2A6FA920FE7F}" sibTransId="{5BDC39C0-B40B-46DE-B8BD-2AABA2BC9874}"/>
    <dgm:cxn modelId="{2111A1D0-D4A4-414C-AAAA-FFF4B82E5071}" type="presOf" srcId="{C4F89973-2A75-46D8-B0A9-E7C7176B93A4}" destId="{84FFBFBF-0EAF-49D8-A7DD-AC80D388558C}" srcOrd="0" destOrd="0" presId="urn:microsoft.com/office/officeart/2005/8/layout/orgChart1"/>
    <dgm:cxn modelId="{A50F09D1-BA48-4DDE-A5AE-83CD5E180868}" type="presOf" srcId="{565CBF4F-A42E-4D01-A709-29D66DA69EF8}" destId="{57EC7246-DBF5-472E-9518-085661C0E74C}" srcOrd="0" destOrd="0" presId="urn:microsoft.com/office/officeart/2005/8/layout/orgChart1"/>
    <dgm:cxn modelId="{1F08D1D3-487A-457C-91C6-923B35985BE1}" srcId="{1C5ED702-6D00-4A1D-9C7A-436C60845140}" destId="{03469359-AFA7-4A93-BBD2-DF4E33A29FC9}" srcOrd="0" destOrd="0" parTransId="{D309BC98-6817-470C-834D-F60C0E6C6A98}" sibTransId="{C207DC16-F270-4291-9E17-05E846B54FBC}"/>
    <dgm:cxn modelId="{984255D8-A4AA-4CB3-A1E9-932821F91E32}" type="presOf" srcId="{607D7892-2569-4A31-BE0E-822482C37F3D}" destId="{D133B60E-B11D-41E6-983D-AFA56DD8A857}" srcOrd="0" destOrd="0" presId="urn:microsoft.com/office/officeart/2005/8/layout/orgChart1"/>
    <dgm:cxn modelId="{DA709CDA-DF96-480A-9FCC-7AD780F62B92}" type="presOf" srcId="{3070FEAF-E714-4809-86DA-9D9DC615893B}" destId="{9FDA0F64-BC6C-4F68-806C-26BC35A22C08}" srcOrd="0" destOrd="0" presId="urn:microsoft.com/office/officeart/2005/8/layout/orgChart1"/>
    <dgm:cxn modelId="{F05A9FDA-9274-4859-A517-5981C0C3EE41}" type="presOf" srcId="{066AB86D-6301-4D7F-BD5D-1F914C195F1E}" destId="{52C722D9-3A55-4BA1-B5FE-CEA252C222C9}" srcOrd="0" destOrd="0" presId="urn:microsoft.com/office/officeart/2005/8/layout/orgChart1"/>
    <dgm:cxn modelId="{2AFE25DB-62FF-48D4-A48F-CF0B98C59981}" type="presOf" srcId="{2B93744D-7D5D-4AAA-A9D4-065B183D1508}" destId="{C51BF866-E3D8-4FC4-B274-A6EE0B240849}" srcOrd="0" destOrd="0" presId="urn:microsoft.com/office/officeart/2005/8/layout/orgChart1"/>
    <dgm:cxn modelId="{28A22DDB-891E-4F02-8EE3-2D61EB07D336}" type="presOf" srcId="{D9C95D2E-2D12-49ED-909B-E5AFB3DC4C7F}" destId="{A1AB14D4-A178-4825-9D0E-78D07E086F7D}" srcOrd="0" destOrd="0" presId="urn:microsoft.com/office/officeart/2005/8/layout/orgChart1"/>
    <dgm:cxn modelId="{07A324DC-EE9E-4674-8694-5FB46B06C376}" type="presOf" srcId="{5357A782-4AA4-4718-8F33-A7151D18ACA4}" destId="{0D1E12E0-9EC4-420E-8447-34C8E5655286}" srcOrd="0" destOrd="0" presId="urn:microsoft.com/office/officeart/2005/8/layout/orgChart1"/>
    <dgm:cxn modelId="{5D178EDC-4434-4D64-ADF1-E5FC8A787E94}" type="presOf" srcId="{283E75D2-C697-498B-9374-5DD228294AD0}" destId="{63B9DB1D-6AF4-4048-8B26-DBA50742144A}" srcOrd="1" destOrd="0" presId="urn:microsoft.com/office/officeart/2005/8/layout/orgChart1"/>
    <dgm:cxn modelId="{0FD792E2-A047-48BC-B707-EC9C6FD27E3B}" type="presOf" srcId="{60819F5D-1058-4309-8330-F01818CD4500}" destId="{05FA96D6-E130-46C9-A75C-1D864AAA16EB}" srcOrd="0" destOrd="0" presId="urn:microsoft.com/office/officeart/2005/8/layout/orgChart1"/>
    <dgm:cxn modelId="{423FCCE2-E795-4A98-B45A-5AB1EADD438E}" type="presOf" srcId="{29263A8B-4A11-4822-AD15-431E52FFAF13}" destId="{5933B140-47DD-4D81-A8D8-F4EB3AC841AC}" srcOrd="0" destOrd="0" presId="urn:microsoft.com/office/officeart/2005/8/layout/orgChart1"/>
    <dgm:cxn modelId="{BE6137E3-39EA-4301-8F57-CBF810758927}" type="presOf" srcId="{1A09EF79-2F34-4D48-9D45-887EDCC7FCA1}" destId="{167A7ED0-4FDF-40D2-91CA-2E110C90DA5F}" srcOrd="1" destOrd="0" presId="urn:microsoft.com/office/officeart/2005/8/layout/orgChart1"/>
    <dgm:cxn modelId="{CA8343E5-E26E-401A-B1F5-B93D22B22069}" type="presOf" srcId="{5C7BC345-B12F-49C2-87CA-37D3378B1C6C}" destId="{BD892431-E279-4FAF-BD13-E4A4FBEEACAC}" srcOrd="0" destOrd="0" presId="urn:microsoft.com/office/officeart/2005/8/layout/orgChart1"/>
    <dgm:cxn modelId="{D96F69E5-570D-44EA-AAFE-344D04B6BEA6}" type="presOf" srcId="{5D9A5639-78F5-48AE-945F-B3918B713637}" destId="{A86AABDB-BE67-4DBE-9E3B-A6547D894849}" srcOrd="0" destOrd="0" presId="urn:microsoft.com/office/officeart/2005/8/layout/orgChart1"/>
    <dgm:cxn modelId="{ED91C9E6-68A7-4E84-B609-A769E82AC1EA}" srcId="{5C7BC345-B12F-49C2-87CA-37D3378B1C6C}" destId="{33A68A52-6159-4DAE-B33E-2FF719C49558}" srcOrd="3" destOrd="0" parTransId="{C040A107-5400-476F-9196-289C01A5ECAB}" sibTransId="{A385A739-0621-47DB-A26D-72555667FA51}"/>
    <dgm:cxn modelId="{23D106F2-6CCB-42D3-BC9D-2FE88729E71C}" type="presOf" srcId="{80C2768C-C89E-4743-BB39-D81F455B3E13}" destId="{8F847A50-CC34-4799-A443-2969B138129A}" srcOrd="0" destOrd="0" presId="urn:microsoft.com/office/officeart/2005/8/layout/orgChart1"/>
    <dgm:cxn modelId="{7C9295F3-C909-46FA-BA54-90B5D8A2D7F2}" srcId="{58135677-0A81-4361-B9C9-A005F11157E4}" destId="{3913C865-6E9D-4F48-B0AC-DB66360AB161}" srcOrd="2" destOrd="0" parTransId="{B0602058-1197-4BE6-9C76-72F957B406C1}" sibTransId="{DED608E9-13DC-40D7-918F-9A3A07B0ACFB}"/>
    <dgm:cxn modelId="{47E4D7F3-1AB0-405F-B239-CED78E56B4E4}" type="presOf" srcId="{26191A03-3627-4E26-AC2F-FFD548AF77D1}" destId="{1C363F96-B440-42B6-A547-56600F95A979}" srcOrd="0" destOrd="0" presId="urn:microsoft.com/office/officeart/2005/8/layout/orgChart1"/>
    <dgm:cxn modelId="{5B200FF4-61DF-455C-84CC-40F3FB054F7E}" type="presOf" srcId="{33A68A52-6159-4DAE-B33E-2FF719C49558}" destId="{E5A8D694-AD1C-4826-86E7-9D6DCB9E1BCF}" srcOrd="0" destOrd="0" presId="urn:microsoft.com/office/officeart/2005/8/layout/orgChart1"/>
    <dgm:cxn modelId="{265F53F7-471C-4953-8C74-9D566CCA13E8}" srcId="{F6382F79-8FA8-413A-BC07-11F00E8E57D3}" destId="{5160DD23-E7DF-4F0C-996C-9BEB009EEF58}" srcOrd="3" destOrd="0" parTransId="{23429310-4C8D-405D-9D1B-051FAF4BD8D0}" sibTransId="{57066DD2-3DC1-4C29-8A44-74FC207354A2}"/>
    <dgm:cxn modelId="{8A3D91F8-EA9F-4D7E-A6EF-C01E5FF6BDEA}" type="presOf" srcId="{BE5A2021-5D71-4F6D-9B0F-CEFD2D18CB1F}" destId="{E7FF7D13-8AA9-47C3-8255-D3D861631748}" srcOrd="0" destOrd="0" presId="urn:microsoft.com/office/officeart/2005/8/layout/orgChart1"/>
    <dgm:cxn modelId="{46A177F9-A294-4330-AB7C-FA9CDA8AFAC8}" srcId="{F44A1BDD-EE53-4FA6-A4D3-0B829201FF10}" destId="{11A47870-75E9-4C3F-892B-448E73141CBD}" srcOrd="2" destOrd="0" parTransId="{7DB54FCA-DCE7-4972-AF17-E6160395D967}" sibTransId="{0F712D2E-4D46-4125-99A2-2C01A556A9D4}"/>
    <dgm:cxn modelId="{82A6CBFC-1623-40A6-B7E0-205CD0665E14}" type="presOf" srcId="{B32C5031-339E-4558-95D8-EF4E2639C511}" destId="{91EFCB46-D98F-4C8F-9467-19EBCCBD9767}" srcOrd="1" destOrd="0" presId="urn:microsoft.com/office/officeart/2005/8/layout/orgChart1"/>
    <dgm:cxn modelId="{40B60A5D-AAF9-4D2E-ADF3-D0AAF42BB3E9}" type="presParOf" srcId="{21DFCF00-BA3A-442D-A302-E8B9B273D4D7}" destId="{B1A764D9-D96A-4B53-B856-AEF52D45A3BA}" srcOrd="0" destOrd="0" presId="urn:microsoft.com/office/officeart/2005/8/layout/orgChart1"/>
    <dgm:cxn modelId="{0D4B63F7-A387-4988-AB23-4133868C24C9}" type="presParOf" srcId="{B1A764D9-D96A-4B53-B856-AEF52D45A3BA}" destId="{B4B8F1AC-A107-4950-B735-168B3D8CC895}" srcOrd="0" destOrd="0" presId="urn:microsoft.com/office/officeart/2005/8/layout/orgChart1"/>
    <dgm:cxn modelId="{5240A2D4-80B9-4505-8F35-BC74350444C5}" type="presParOf" srcId="{B4B8F1AC-A107-4950-B735-168B3D8CC895}" destId="{B38EFBAE-F24D-4607-8056-41FD753C7A0D}" srcOrd="0" destOrd="0" presId="urn:microsoft.com/office/officeart/2005/8/layout/orgChart1"/>
    <dgm:cxn modelId="{58C471E4-3516-42F2-B612-BD1617223E02}" type="presParOf" srcId="{B4B8F1AC-A107-4950-B735-168B3D8CC895}" destId="{9F3F7C96-9EB6-4B0C-996D-E8AFB782C371}" srcOrd="1" destOrd="0" presId="urn:microsoft.com/office/officeart/2005/8/layout/orgChart1"/>
    <dgm:cxn modelId="{B1E93482-4F36-4F17-80C2-BC8B9F3F4F9B}" type="presParOf" srcId="{B1A764D9-D96A-4B53-B856-AEF52D45A3BA}" destId="{739FC934-DA7E-4472-AEA5-FF44FCFB5313}" srcOrd="1" destOrd="0" presId="urn:microsoft.com/office/officeart/2005/8/layout/orgChart1"/>
    <dgm:cxn modelId="{33798723-0FCE-4EFF-A886-E9874E77FF8A}" type="presParOf" srcId="{739FC934-DA7E-4472-AEA5-FF44FCFB5313}" destId="{E7FF7D13-8AA9-47C3-8255-D3D861631748}" srcOrd="0" destOrd="0" presId="urn:microsoft.com/office/officeart/2005/8/layout/orgChart1"/>
    <dgm:cxn modelId="{46EAEB9C-F522-4613-9347-019AC41893BD}" type="presParOf" srcId="{739FC934-DA7E-4472-AEA5-FF44FCFB5313}" destId="{70B04D6F-66A9-4FDE-AB32-DAD3550F22D3}" srcOrd="1" destOrd="0" presId="urn:microsoft.com/office/officeart/2005/8/layout/orgChart1"/>
    <dgm:cxn modelId="{82026287-D840-455A-9C53-EB5B9A4F699D}" type="presParOf" srcId="{70B04D6F-66A9-4FDE-AB32-DAD3550F22D3}" destId="{FE44CBEE-EA0D-4D1C-B742-153A38EF3A6D}" srcOrd="0" destOrd="0" presId="urn:microsoft.com/office/officeart/2005/8/layout/orgChart1"/>
    <dgm:cxn modelId="{7DAB3B6A-AD33-4D04-BAEF-B11278C12778}" type="presParOf" srcId="{FE44CBEE-EA0D-4D1C-B742-153A38EF3A6D}" destId="{5C13A3CF-5101-4405-863A-A3E2CCBB22AB}" srcOrd="0" destOrd="0" presId="urn:microsoft.com/office/officeart/2005/8/layout/orgChart1"/>
    <dgm:cxn modelId="{6E0C10FE-D96B-46E6-9BB2-7E320651F811}" type="presParOf" srcId="{FE44CBEE-EA0D-4D1C-B742-153A38EF3A6D}" destId="{9A1EC101-B2CE-405F-9790-44F992781CFD}" srcOrd="1" destOrd="0" presId="urn:microsoft.com/office/officeart/2005/8/layout/orgChart1"/>
    <dgm:cxn modelId="{F698B508-BC30-4D7E-9F81-F16AC8996EFB}" type="presParOf" srcId="{70B04D6F-66A9-4FDE-AB32-DAD3550F22D3}" destId="{AD9984FC-7F99-4311-B933-77886C628D45}" srcOrd="1" destOrd="0" presId="urn:microsoft.com/office/officeart/2005/8/layout/orgChart1"/>
    <dgm:cxn modelId="{054AA06D-6D80-47F7-AB2E-C7A8FE9B1E6C}" type="presParOf" srcId="{AD9984FC-7F99-4311-B933-77886C628D45}" destId="{00ED9990-A0CC-4608-9427-1ECE9162B7E7}" srcOrd="0" destOrd="0" presId="urn:microsoft.com/office/officeart/2005/8/layout/orgChart1"/>
    <dgm:cxn modelId="{83BBBC3B-0A3E-4B1C-AD05-7EA969A230C0}" type="presParOf" srcId="{AD9984FC-7F99-4311-B933-77886C628D45}" destId="{9AE9DF00-383B-4713-BA68-B54DBAA73515}" srcOrd="1" destOrd="0" presId="urn:microsoft.com/office/officeart/2005/8/layout/orgChart1"/>
    <dgm:cxn modelId="{F9DEE06B-9652-4166-94CF-CBC8BA812492}" type="presParOf" srcId="{9AE9DF00-383B-4713-BA68-B54DBAA73515}" destId="{202DCB8C-26F2-4987-9911-77C3BD2E403A}" srcOrd="0" destOrd="0" presId="urn:microsoft.com/office/officeart/2005/8/layout/orgChart1"/>
    <dgm:cxn modelId="{84A2E0CB-2813-4857-8FBA-C0FB4DEAFC53}" type="presParOf" srcId="{202DCB8C-26F2-4987-9911-77C3BD2E403A}" destId="{8CC729E0-048C-4A38-B2A1-88086D3534AD}" srcOrd="0" destOrd="0" presId="urn:microsoft.com/office/officeart/2005/8/layout/orgChart1"/>
    <dgm:cxn modelId="{D7DB1D69-0493-42A2-A5B1-B2203F377C02}" type="presParOf" srcId="{202DCB8C-26F2-4987-9911-77C3BD2E403A}" destId="{ABBEBFB4-6AC5-4350-B24F-31FE8D5C42C9}" srcOrd="1" destOrd="0" presId="urn:microsoft.com/office/officeart/2005/8/layout/orgChart1"/>
    <dgm:cxn modelId="{A0C39316-0C67-4B75-8DCB-D3D6C6EB9900}" type="presParOf" srcId="{9AE9DF00-383B-4713-BA68-B54DBAA73515}" destId="{39F5A7BD-C401-4946-8E8D-DC7CC7B34B77}" srcOrd="1" destOrd="0" presId="urn:microsoft.com/office/officeart/2005/8/layout/orgChart1"/>
    <dgm:cxn modelId="{B04718D5-22DA-4477-B165-4C6954C44AE1}" type="presParOf" srcId="{39F5A7BD-C401-4946-8E8D-DC7CC7B34B77}" destId="{2D643B93-8C2C-43F5-B745-79C7E0F0F249}" srcOrd="0" destOrd="0" presId="urn:microsoft.com/office/officeart/2005/8/layout/orgChart1"/>
    <dgm:cxn modelId="{CA4F685A-2CB3-4950-9014-14AAF3756DEF}" type="presParOf" srcId="{39F5A7BD-C401-4946-8E8D-DC7CC7B34B77}" destId="{25A413EA-0C6F-4A45-8A7D-4C5C50DD2F2C}" srcOrd="1" destOrd="0" presId="urn:microsoft.com/office/officeart/2005/8/layout/orgChart1"/>
    <dgm:cxn modelId="{4E7BB22B-F6BC-4C08-9FF7-E4DB8969EAE0}" type="presParOf" srcId="{25A413EA-0C6F-4A45-8A7D-4C5C50DD2F2C}" destId="{C3131C40-8FA8-4F34-800B-3C5F21BEC513}" srcOrd="0" destOrd="0" presId="urn:microsoft.com/office/officeart/2005/8/layout/orgChart1"/>
    <dgm:cxn modelId="{E4A4325D-CAE4-4726-9F4E-3EFEEFE9C4DD}" type="presParOf" srcId="{C3131C40-8FA8-4F34-800B-3C5F21BEC513}" destId="{CA5243E6-FBF9-46A3-87A8-AA20927F9878}" srcOrd="0" destOrd="0" presId="urn:microsoft.com/office/officeart/2005/8/layout/orgChart1"/>
    <dgm:cxn modelId="{56C44553-2B10-4815-9E86-78C58110C969}" type="presParOf" srcId="{C3131C40-8FA8-4F34-800B-3C5F21BEC513}" destId="{3A31735B-831C-48B7-AC71-90B960240A14}" srcOrd="1" destOrd="0" presId="urn:microsoft.com/office/officeart/2005/8/layout/orgChart1"/>
    <dgm:cxn modelId="{DE74326B-DF73-421E-87E0-D3BCB3E00C18}" type="presParOf" srcId="{25A413EA-0C6F-4A45-8A7D-4C5C50DD2F2C}" destId="{5797DB53-BADB-45DA-B892-E733A69EB4BE}" srcOrd="1" destOrd="0" presId="urn:microsoft.com/office/officeart/2005/8/layout/orgChart1"/>
    <dgm:cxn modelId="{05C6223D-95F1-4F89-BE64-9E600AF67586}" type="presParOf" srcId="{25A413EA-0C6F-4A45-8A7D-4C5C50DD2F2C}" destId="{AF385D49-A9F2-46CE-BED3-7DA2FBA1DF64}" srcOrd="2" destOrd="0" presId="urn:microsoft.com/office/officeart/2005/8/layout/orgChart1"/>
    <dgm:cxn modelId="{44817FB3-DC12-4A2B-83ED-61A32754DD8B}" type="presParOf" srcId="{39F5A7BD-C401-4946-8E8D-DC7CC7B34B77}" destId="{DC3008FE-CD19-456A-A01A-50749EF77492}" srcOrd="2" destOrd="0" presId="urn:microsoft.com/office/officeart/2005/8/layout/orgChart1"/>
    <dgm:cxn modelId="{948A8251-EB6E-4727-8455-6D20FCE8F217}" type="presParOf" srcId="{39F5A7BD-C401-4946-8E8D-DC7CC7B34B77}" destId="{BB837113-FFD5-4549-971F-A30DFE8059D2}" srcOrd="3" destOrd="0" presId="urn:microsoft.com/office/officeart/2005/8/layout/orgChart1"/>
    <dgm:cxn modelId="{50A190C7-5A3C-4253-A7C7-50433C2947F0}" type="presParOf" srcId="{BB837113-FFD5-4549-971F-A30DFE8059D2}" destId="{E8B7A54B-35A7-42FA-86B7-B264C2A8C615}" srcOrd="0" destOrd="0" presId="urn:microsoft.com/office/officeart/2005/8/layout/orgChart1"/>
    <dgm:cxn modelId="{76531B8C-75BA-4702-BE01-0230CA8F9C79}" type="presParOf" srcId="{E8B7A54B-35A7-42FA-86B7-B264C2A8C615}" destId="{FF662F56-BB04-4B25-A305-7C6DAE5E6114}" srcOrd="0" destOrd="0" presId="urn:microsoft.com/office/officeart/2005/8/layout/orgChart1"/>
    <dgm:cxn modelId="{CC48C09A-E8B0-440A-A129-C33296BD3BF5}" type="presParOf" srcId="{E8B7A54B-35A7-42FA-86B7-B264C2A8C615}" destId="{91EFCB46-D98F-4C8F-9467-19EBCCBD9767}" srcOrd="1" destOrd="0" presId="urn:microsoft.com/office/officeart/2005/8/layout/orgChart1"/>
    <dgm:cxn modelId="{558275DB-8657-48DC-9592-6858FECE0981}" type="presParOf" srcId="{BB837113-FFD5-4549-971F-A30DFE8059D2}" destId="{F5349DFB-05EE-461C-8766-0C9B46F5184C}" srcOrd="1" destOrd="0" presId="urn:microsoft.com/office/officeart/2005/8/layout/orgChart1"/>
    <dgm:cxn modelId="{48E573E1-8708-4CAF-8732-308DCC81D32A}" type="presParOf" srcId="{BB837113-FFD5-4549-971F-A30DFE8059D2}" destId="{79D3168F-94EA-4BB6-9713-713865DF7BF2}" srcOrd="2" destOrd="0" presId="urn:microsoft.com/office/officeart/2005/8/layout/orgChart1"/>
    <dgm:cxn modelId="{4C9B74FB-EF2F-45C3-81EA-79F69C72164D}" type="presParOf" srcId="{39F5A7BD-C401-4946-8E8D-DC7CC7B34B77}" destId="{24067E5A-491A-4221-9208-DC9724217A52}" srcOrd="4" destOrd="0" presId="urn:microsoft.com/office/officeart/2005/8/layout/orgChart1"/>
    <dgm:cxn modelId="{D229FC8C-9BD8-4F4B-B0E0-0ECC03DBA617}" type="presParOf" srcId="{39F5A7BD-C401-4946-8E8D-DC7CC7B34B77}" destId="{514619AC-B3A7-47B6-BE42-B7E50710CD67}" srcOrd="5" destOrd="0" presId="urn:microsoft.com/office/officeart/2005/8/layout/orgChart1"/>
    <dgm:cxn modelId="{F064A53B-65C3-494A-8729-AD89636566D3}" type="presParOf" srcId="{514619AC-B3A7-47B6-BE42-B7E50710CD67}" destId="{9858EAE4-4342-4872-BD41-BE13DF2D7D80}" srcOrd="0" destOrd="0" presId="urn:microsoft.com/office/officeart/2005/8/layout/orgChart1"/>
    <dgm:cxn modelId="{ACCEE814-39F1-498D-ABC2-0602270F47E6}" type="presParOf" srcId="{9858EAE4-4342-4872-BD41-BE13DF2D7D80}" destId="{BD892431-E279-4FAF-BD13-E4A4FBEEACAC}" srcOrd="0" destOrd="0" presId="urn:microsoft.com/office/officeart/2005/8/layout/orgChart1"/>
    <dgm:cxn modelId="{7BEB7DE7-2FB7-435C-93C6-02EE07440EFE}" type="presParOf" srcId="{9858EAE4-4342-4872-BD41-BE13DF2D7D80}" destId="{EECD4322-B1C1-4625-BE92-0544D012A0A1}" srcOrd="1" destOrd="0" presId="urn:microsoft.com/office/officeart/2005/8/layout/orgChart1"/>
    <dgm:cxn modelId="{AE5D651D-A229-443A-B225-D17F5A772EE5}" type="presParOf" srcId="{514619AC-B3A7-47B6-BE42-B7E50710CD67}" destId="{40074E54-F20F-4F18-8D53-AC1FB38C47AB}" srcOrd="1" destOrd="0" presId="urn:microsoft.com/office/officeart/2005/8/layout/orgChart1"/>
    <dgm:cxn modelId="{457C1EE0-CD43-4D57-AC5D-0F1AF73701CF}" type="presParOf" srcId="{40074E54-F20F-4F18-8D53-AC1FB38C47AB}" destId="{EDC30AD0-1BF1-49DE-BBBF-050125F44676}" srcOrd="0" destOrd="0" presId="urn:microsoft.com/office/officeart/2005/8/layout/orgChart1"/>
    <dgm:cxn modelId="{14399A2A-CEAD-4DE0-AE04-0D958CF0187C}" type="presParOf" srcId="{40074E54-F20F-4F18-8D53-AC1FB38C47AB}" destId="{C00426F8-C4EA-403B-A7C7-66389DE7C020}" srcOrd="1" destOrd="0" presId="urn:microsoft.com/office/officeart/2005/8/layout/orgChart1"/>
    <dgm:cxn modelId="{4678AFB9-D0EA-4A32-9B0D-CF1B834D34F1}" type="presParOf" srcId="{C00426F8-C4EA-403B-A7C7-66389DE7C020}" destId="{E2079A0E-07B2-4814-BAA1-05D424AF974D}" srcOrd="0" destOrd="0" presId="urn:microsoft.com/office/officeart/2005/8/layout/orgChart1"/>
    <dgm:cxn modelId="{DB023395-6C16-4C96-86B8-9AE961CD03C6}" type="presParOf" srcId="{E2079A0E-07B2-4814-BAA1-05D424AF974D}" destId="{BB9456C3-1730-4153-BAC1-76A7B7DE168E}" srcOrd="0" destOrd="0" presId="urn:microsoft.com/office/officeart/2005/8/layout/orgChart1"/>
    <dgm:cxn modelId="{A5CEB59F-7B4E-4F7B-87ED-ADE5CBDEA339}" type="presParOf" srcId="{E2079A0E-07B2-4814-BAA1-05D424AF974D}" destId="{D985CD73-610D-4AD1-8D26-E8075C757933}" srcOrd="1" destOrd="0" presId="urn:microsoft.com/office/officeart/2005/8/layout/orgChart1"/>
    <dgm:cxn modelId="{0656680E-FB89-4E82-ABF0-5B7B9E7DC131}" type="presParOf" srcId="{C00426F8-C4EA-403B-A7C7-66389DE7C020}" destId="{776739EA-94A8-4BA1-8A7D-D2BAD551EAC8}" srcOrd="1" destOrd="0" presId="urn:microsoft.com/office/officeart/2005/8/layout/orgChart1"/>
    <dgm:cxn modelId="{DDCA1D17-3A9A-4F1C-B0AC-629624440EB2}" type="presParOf" srcId="{C00426F8-C4EA-403B-A7C7-66389DE7C020}" destId="{71E9045E-A50F-4180-BC82-766575B588A1}" srcOrd="2" destOrd="0" presId="urn:microsoft.com/office/officeart/2005/8/layout/orgChart1"/>
    <dgm:cxn modelId="{1FE9FE27-51E9-4793-8848-243F111F2E97}" type="presParOf" srcId="{40074E54-F20F-4F18-8D53-AC1FB38C47AB}" destId="{05FA96D6-E130-46C9-A75C-1D864AAA16EB}" srcOrd="2" destOrd="0" presId="urn:microsoft.com/office/officeart/2005/8/layout/orgChart1"/>
    <dgm:cxn modelId="{8824CD43-CB6B-453A-A4DB-BD16253F5F16}" type="presParOf" srcId="{40074E54-F20F-4F18-8D53-AC1FB38C47AB}" destId="{1FFA1B56-3A58-4294-B7A8-843351052266}" srcOrd="3" destOrd="0" presId="urn:microsoft.com/office/officeart/2005/8/layout/orgChart1"/>
    <dgm:cxn modelId="{6173EF93-4BB4-4EBE-9290-1F0344F80798}" type="presParOf" srcId="{1FFA1B56-3A58-4294-B7A8-843351052266}" destId="{1F83E78C-65D8-44F0-9647-A24A377A005D}" srcOrd="0" destOrd="0" presId="urn:microsoft.com/office/officeart/2005/8/layout/orgChart1"/>
    <dgm:cxn modelId="{AC569001-FD21-4D51-96FA-B6390281C1A5}" type="presParOf" srcId="{1F83E78C-65D8-44F0-9647-A24A377A005D}" destId="{D133B60E-B11D-41E6-983D-AFA56DD8A857}" srcOrd="0" destOrd="0" presId="urn:microsoft.com/office/officeart/2005/8/layout/orgChart1"/>
    <dgm:cxn modelId="{C0A00352-4D07-4DBD-9FA0-2CBE3A2999C8}" type="presParOf" srcId="{1F83E78C-65D8-44F0-9647-A24A377A005D}" destId="{B28B4B3E-A788-4769-AA87-46CAA76CAEA8}" srcOrd="1" destOrd="0" presId="urn:microsoft.com/office/officeart/2005/8/layout/orgChart1"/>
    <dgm:cxn modelId="{C27B642D-D0E4-46F0-96AF-745A40AB31B0}" type="presParOf" srcId="{1FFA1B56-3A58-4294-B7A8-843351052266}" destId="{25C3E81D-C8ED-4BB0-873B-E42E10C83789}" srcOrd="1" destOrd="0" presId="urn:microsoft.com/office/officeart/2005/8/layout/orgChart1"/>
    <dgm:cxn modelId="{761C3BF3-1178-4A3A-9686-156F4FB4AAF2}" type="presParOf" srcId="{1FFA1B56-3A58-4294-B7A8-843351052266}" destId="{504E5852-2BA3-4452-823B-0322A9B114FD}" srcOrd="2" destOrd="0" presId="urn:microsoft.com/office/officeart/2005/8/layout/orgChart1"/>
    <dgm:cxn modelId="{37AEBEE5-1BAC-4F40-AD33-790B65DE5BB0}" type="presParOf" srcId="{40074E54-F20F-4F18-8D53-AC1FB38C47AB}" destId="{14BD35A4-B0E3-4085-9410-A46734042A6B}" srcOrd="4" destOrd="0" presId="urn:microsoft.com/office/officeart/2005/8/layout/orgChart1"/>
    <dgm:cxn modelId="{3C3E6CFE-3F1A-427F-9883-112EA01F7B79}" type="presParOf" srcId="{40074E54-F20F-4F18-8D53-AC1FB38C47AB}" destId="{C8CF69BD-3932-49E8-BEB1-AD43D1DA8063}" srcOrd="5" destOrd="0" presId="urn:microsoft.com/office/officeart/2005/8/layout/orgChart1"/>
    <dgm:cxn modelId="{1F25157F-13C8-49C4-9459-A46975339BF4}" type="presParOf" srcId="{C8CF69BD-3932-49E8-BEB1-AD43D1DA8063}" destId="{8FBC3B11-A3EC-462F-8136-217CA71E988F}" srcOrd="0" destOrd="0" presId="urn:microsoft.com/office/officeart/2005/8/layout/orgChart1"/>
    <dgm:cxn modelId="{DB83DFFD-86E0-4B3E-813F-83E950C87F81}" type="presParOf" srcId="{8FBC3B11-A3EC-462F-8136-217CA71E988F}" destId="{6D9C4384-C201-400C-9F66-F43E8A6B3EBC}" srcOrd="0" destOrd="0" presId="urn:microsoft.com/office/officeart/2005/8/layout/orgChart1"/>
    <dgm:cxn modelId="{1D4C64A8-1BF3-405E-BFFE-6B641A30326E}" type="presParOf" srcId="{8FBC3B11-A3EC-462F-8136-217CA71E988F}" destId="{1FB57A76-326D-4FDB-B50C-BD51CD959EAF}" srcOrd="1" destOrd="0" presId="urn:microsoft.com/office/officeart/2005/8/layout/orgChart1"/>
    <dgm:cxn modelId="{45A35DD9-745E-4EF7-8145-8EE33BD372E3}" type="presParOf" srcId="{C8CF69BD-3932-49E8-BEB1-AD43D1DA8063}" destId="{EA323722-946D-4EFD-814B-9C56AF6E111E}" srcOrd="1" destOrd="0" presId="urn:microsoft.com/office/officeart/2005/8/layout/orgChart1"/>
    <dgm:cxn modelId="{D531C85A-7BEE-454C-BCD7-944295AFDAAC}" type="presParOf" srcId="{C8CF69BD-3932-49E8-BEB1-AD43D1DA8063}" destId="{17B1FE9D-E367-4717-87B2-F8E962169158}" srcOrd="2" destOrd="0" presId="urn:microsoft.com/office/officeart/2005/8/layout/orgChart1"/>
    <dgm:cxn modelId="{B44E7471-8727-4A7B-B452-F9161FDA097B}" type="presParOf" srcId="{40074E54-F20F-4F18-8D53-AC1FB38C47AB}" destId="{4B73B73B-8152-4B3B-B8D1-8B79DD44CD90}" srcOrd="6" destOrd="0" presId="urn:microsoft.com/office/officeart/2005/8/layout/orgChart1"/>
    <dgm:cxn modelId="{87698233-D841-48DB-BE53-AFBCA6B8A205}" type="presParOf" srcId="{40074E54-F20F-4F18-8D53-AC1FB38C47AB}" destId="{2BAB9F0A-B704-4518-A0A5-C9F5DEB6F87C}" srcOrd="7" destOrd="0" presId="urn:microsoft.com/office/officeart/2005/8/layout/orgChart1"/>
    <dgm:cxn modelId="{69CE2901-42EF-460C-9C89-806A108B4E05}" type="presParOf" srcId="{2BAB9F0A-B704-4518-A0A5-C9F5DEB6F87C}" destId="{648A1259-CC8C-42DF-A646-BDC337189DA0}" srcOrd="0" destOrd="0" presId="urn:microsoft.com/office/officeart/2005/8/layout/orgChart1"/>
    <dgm:cxn modelId="{0A5AE304-16A8-4B2A-B92D-E8632749F3CB}" type="presParOf" srcId="{648A1259-CC8C-42DF-A646-BDC337189DA0}" destId="{E5A8D694-AD1C-4826-86E7-9D6DCB9E1BCF}" srcOrd="0" destOrd="0" presId="urn:microsoft.com/office/officeart/2005/8/layout/orgChart1"/>
    <dgm:cxn modelId="{0ACEE0A0-93CB-4F49-86F1-0431D36A0AC8}" type="presParOf" srcId="{648A1259-CC8C-42DF-A646-BDC337189DA0}" destId="{002AD001-EA03-4060-AE4E-EED9B0E8E8C5}" srcOrd="1" destOrd="0" presId="urn:microsoft.com/office/officeart/2005/8/layout/orgChart1"/>
    <dgm:cxn modelId="{0051DD15-2A43-433C-A36E-EDF7B2F22172}" type="presParOf" srcId="{2BAB9F0A-B704-4518-A0A5-C9F5DEB6F87C}" destId="{7E48F70D-41BC-4DE4-8A7A-20A2C381768B}" srcOrd="1" destOrd="0" presId="urn:microsoft.com/office/officeart/2005/8/layout/orgChart1"/>
    <dgm:cxn modelId="{34965D58-3B9F-43E3-A1A6-B93A358FC5B5}" type="presParOf" srcId="{2BAB9F0A-B704-4518-A0A5-C9F5DEB6F87C}" destId="{2D8D326B-AAEF-4748-B3C1-13C7E925496C}" srcOrd="2" destOrd="0" presId="urn:microsoft.com/office/officeart/2005/8/layout/orgChart1"/>
    <dgm:cxn modelId="{53CF36F5-F012-4B96-9C77-7BBFDD6222A6}" type="presParOf" srcId="{514619AC-B3A7-47B6-BE42-B7E50710CD67}" destId="{C7328AD3-2368-47D8-B7B4-D0E18EB0058C}" srcOrd="2" destOrd="0" presId="urn:microsoft.com/office/officeart/2005/8/layout/orgChart1"/>
    <dgm:cxn modelId="{760F5564-2F59-425A-BF37-F5773A2760B1}" type="presParOf" srcId="{39F5A7BD-C401-4946-8E8D-DC7CC7B34B77}" destId="{BB2AB050-A336-4CBA-B88A-568BBE74D817}" srcOrd="6" destOrd="0" presId="urn:microsoft.com/office/officeart/2005/8/layout/orgChart1"/>
    <dgm:cxn modelId="{29255B31-249E-4F9B-B5CA-EF74B857E09A}" type="presParOf" srcId="{39F5A7BD-C401-4946-8E8D-DC7CC7B34B77}" destId="{AA4930E1-9369-439B-A2B1-161B929BBF83}" srcOrd="7" destOrd="0" presId="urn:microsoft.com/office/officeart/2005/8/layout/orgChart1"/>
    <dgm:cxn modelId="{7FF81256-22A4-42BD-8166-32AFB05339B4}" type="presParOf" srcId="{AA4930E1-9369-439B-A2B1-161B929BBF83}" destId="{3BE4C1CE-8A28-4E1A-B65D-BA0CB6A2A7F0}" srcOrd="0" destOrd="0" presId="urn:microsoft.com/office/officeart/2005/8/layout/orgChart1"/>
    <dgm:cxn modelId="{D283A33B-2E8C-4E3C-B5CE-EC637A75BA7E}" type="presParOf" srcId="{3BE4C1CE-8A28-4E1A-B65D-BA0CB6A2A7F0}" destId="{E5C5F92F-6F25-462F-AF8F-6112574BA167}" srcOrd="0" destOrd="0" presId="urn:microsoft.com/office/officeart/2005/8/layout/orgChart1"/>
    <dgm:cxn modelId="{94A2B5F0-2BF5-4236-B8D3-988C6F0A7B12}" type="presParOf" srcId="{3BE4C1CE-8A28-4E1A-B65D-BA0CB6A2A7F0}" destId="{DF5D379C-685C-4EFA-A4EF-BCD9612D0EB7}" srcOrd="1" destOrd="0" presId="urn:microsoft.com/office/officeart/2005/8/layout/orgChart1"/>
    <dgm:cxn modelId="{4E9DD769-AF78-49D0-8D92-CC74252C58E5}" type="presParOf" srcId="{AA4930E1-9369-439B-A2B1-161B929BBF83}" destId="{4F4981CB-24DE-4427-865E-B9A4E6F516D4}" srcOrd="1" destOrd="0" presId="urn:microsoft.com/office/officeart/2005/8/layout/orgChart1"/>
    <dgm:cxn modelId="{60201626-E134-4870-9C3E-4323F9DB173D}" type="presParOf" srcId="{4F4981CB-24DE-4427-865E-B9A4E6F516D4}" destId="{74AB3598-72BD-488E-B783-ED7130A6023F}" srcOrd="0" destOrd="0" presId="urn:microsoft.com/office/officeart/2005/8/layout/orgChart1"/>
    <dgm:cxn modelId="{DCE62D9B-24FE-40E5-A51F-9CAE1207DC0B}" type="presParOf" srcId="{4F4981CB-24DE-4427-865E-B9A4E6F516D4}" destId="{CB89603D-24E2-4CCE-A7BD-7B81E846CC76}" srcOrd="1" destOrd="0" presId="urn:microsoft.com/office/officeart/2005/8/layout/orgChart1"/>
    <dgm:cxn modelId="{49B0B0D9-D115-4526-A24C-388F8036A524}" type="presParOf" srcId="{CB89603D-24E2-4CCE-A7BD-7B81E846CC76}" destId="{5743994A-AC0C-49DC-A39B-B035EB79F261}" srcOrd="0" destOrd="0" presId="urn:microsoft.com/office/officeart/2005/8/layout/orgChart1"/>
    <dgm:cxn modelId="{4FB3CCF7-602B-4671-89C6-8FE3A3A5CEF0}" type="presParOf" srcId="{5743994A-AC0C-49DC-A39B-B035EB79F261}" destId="{9BF330ED-773F-45AE-BFF2-2A9E6324428E}" srcOrd="0" destOrd="0" presId="urn:microsoft.com/office/officeart/2005/8/layout/orgChart1"/>
    <dgm:cxn modelId="{1C5D5E82-0EED-46B6-9D4A-4F68ACF3B8FB}" type="presParOf" srcId="{5743994A-AC0C-49DC-A39B-B035EB79F261}" destId="{167A7ED0-4FDF-40D2-91CA-2E110C90DA5F}" srcOrd="1" destOrd="0" presId="urn:microsoft.com/office/officeart/2005/8/layout/orgChart1"/>
    <dgm:cxn modelId="{A2AD9FAE-5B0C-4241-A795-7C3F7766E42B}" type="presParOf" srcId="{CB89603D-24E2-4CCE-A7BD-7B81E846CC76}" destId="{F52BD14E-5C91-4741-9F34-FD1EFB26B783}" srcOrd="1" destOrd="0" presId="urn:microsoft.com/office/officeart/2005/8/layout/orgChart1"/>
    <dgm:cxn modelId="{FC8EC966-29B9-4333-8265-650C916858D0}" type="presParOf" srcId="{CB89603D-24E2-4CCE-A7BD-7B81E846CC76}" destId="{461151F4-53A5-481A-8088-62EA681AE4BA}" srcOrd="2" destOrd="0" presId="urn:microsoft.com/office/officeart/2005/8/layout/orgChart1"/>
    <dgm:cxn modelId="{A6B2F674-6A39-4FAD-9C6F-9E68C8A77C78}" type="presParOf" srcId="{4F4981CB-24DE-4427-865E-B9A4E6F516D4}" destId="{9FDA0F64-BC6C-4F68-806C-26BC35A22C08}" srcOrd="2" destOrd="0" presId="urn:microsoft.com/office/officeart/2005/8/layout/orgChart1"/>
    <dgm:cxn modelId="{957B2956-3D91-4A4A-BDB2-3DBD2225E80C}" type="presParOf" srcId="{4F4981CB-24DE-4427-865E-B9A4E6F516D4}" destId="{24E0F532-EF7B-432D-A186-FE40C4588199}" srcOrd="3" destOrd="0" presId="urn:microsoft.com/office/officeart/2005/8/layout/orgChart1"/>
    <dgm:cxn modelId="{5B959350-8D5A-461F-B298-2CE43A4D95D6}" type="presParOf" srcId="{24E0F532-EF7B-432D-A186-FE40C4588199}" destId="{93A1C2A6-381C-472A-B715-37F5F2A4D5B7}" srcOrd="0" destOrd="0" presId="urn:microsoft.com/office/officeart/2005/8/layout/orgChart1"/>
    <dgm:cxn modelId="{BDF4F601-C569-49EA-AAB0-596E2C048426}" type="presParOf" srcId="{93A1C2A6-381C-472A-B715-37F5F2A4D5B7}" destId="{1C363F96-B440-42B6-A547-56600F95A979}" srcOrd="0" destOrd="0" presId="urn:microsoft.com/office/officeart/2005/8/layout/orgChart1"/>
    <dgm:cxn modelId="{E202A5D8-657D-4D75-BA76-421DE38F7842}" type="presParOf" srcId="{93A1C2A6-381C-472A-B715-37F5F2A4D5B7}" destId="{2D0BE812-9068-44D8-9F2B-06F722AEE7FE}" srcOrd="1" destOrd="0" presId="urn:microsoft.com/office/officeart/2005/8/layout/orgChart1"/>
    <dgm:cxn modelId="{6BAE5E2E-8933-4E12-9B92-7C47AB29BAEA}" type="presParOf" srcId="{24E0F532-EF7B-432D-A186-FE40C4588199}" destId="{04D504F3-AB17-45C4-B30A-ED9FBDF5647F}" srcOrd="1" destOrd="0" presId="urn:microsoft.com/office/officeart/2005/8/layout/orgChart1"/>
    <dgm:cxn modelId="{6870D062-09FE-411F-98B1-89B0C0517E54}" type="presParOf" srcId="{24E0F532-EF7B-432D-A186-FE40C4588199}" destId="{E60BED37-DFB4-4E43-B462-BFAD151DAF64}" srcOrd="2" destOrd="0" presId="urn:microsoft.com/office/officeart/2005/8/layout/orgChart1"/>
    <dgm:cxn modelId="{48544215-5293-4123-8936-8B02795CFCA7}" type="presParOf" srcId="{4F4981CB-24DE-4427-865E-B9A4E6F516D4}" destId="{AF4C31F8-A271-48CF-BCCC-51BE3B598757}" srcOrd="4" destOrd="0" presId="urn:microsoft.com/office/officeart/2005/8/layout/orgChart1"/>
    <dgm:cxn modelId="{623F946C-54D2-4B4D-AF06-DF6827AFA06C}" type="presParOf" srcId="{4F4981CB-24DE-4427-865E-B9A4E6F516D4}" destId="{47427BA2-7A78-4563-BDEB-308F9175D2E5}" srcOrd="5" destOrd="0" presId="urn:microsoft.com/office/officeart/2005/8/layout/orgChart1"/>
    <dgm:cxn modelId="{33345DB7-2D99-48FB-8750-5174BFE763B0}" type="presParOf" srcId="{47427BA2-7A78-4563-BDEB-308F9175D2E5}" destId="{38AE3C0E-FCEF-4B1C-A610-86FB795028E8}" srcOrd="0" destOrd="0" presId="urn:microsoft.com/office/officeart/2005/8/layout/orgChart1"/>
    <dgm:cxn modelId="{A0185C55-F0ED-461F-827B-B3EE54549505}" type="presParOf" srcId="{38AE3C0E-FCEF-4B1C-A610-86FB795028E8}" destId="{50F93FED-FAD8-4246-8380-95E5FD1CAFCF}" srcOrd="0" destOrd="0" presId="urn:microsoft.com/office/officeart/2005/8/layout/orgChart1"/>
    <dgm:cxn modelId="{325D82B7-E2AD-42B9-8755-FEB88BF492B3}" type="presParOf" srcId="{38AE3C0E-FCEF-4B1C-A610-86FB795028E8}" destId="{CDD983B0-8FE9-496E-A348-1717DA1A98BF}" srcOrd="1" destOrd="0" presId="urn:microsoft.com/office/officeart/2005/8/layout/orgChart1"/>
    <dgm:cxn modelId="{EF546405-0B09-4CE6-BDC4-3AB875C3494B}" type="presParOf" srcId="{47427BA2-7A78-4563-BDEB-308F9175D2E5}" destId="{61DF0730-3A4F-4AD6-AA71-E1361092B3A8}" srcOrd="1" destOrd="0" presId="urn:microsoft.com/office/officeart/2005/8/layout/orgChart1"/>
    <dgm:cxn modelId="{5293C31B-265A-40DB-A546-9BDFE92FBE23}" type="presParOf" srcId="{47427BA2-7A78-4563-BDEB-308F9175D2E5}" destId="{3A6AE6D0-74EF-4DB9-BFA2-806626FEE2CA}" srcOrd="2" destOrd="0" presId="urn:microsoft.com/office/officeart/2005/8/layout/orgChart1"/>
    <dgm:cxn modelId="{2C826CCE-2135-4A8D-BAED-8B650B0E641B}" type="presParOf" srcId="{4F4981CB-24DE-4427-865E-B9A4E6F516D4}" destId="{0D1E12E0-9EC4-420E-8447-34C8E5655286}" srcOrd="6" destOrd="0" presId="urn:microsoft.com/office/officeart/2005/8/layout/orgChart1"/>
    <dgm:cxn modelId="{45A17D00-5CA6-40DF-8369-1ADCB9369F84}" type="presParOf" srcId="{4F4981CB-24DE-4427-865E-B9A4E6F516D4}" destId="{EB14C6F1-6E99-4180-A04E-D00F567D68F5}" srcOrd="7" destOrd="0" presId="urn:microsoft.com/office/officeart/2005/8/layout/orgChart1"/>
    <dgm:cxn modelId="{7257DB23-6F6D-4638-AE99-A09B3315B98B}" type="presParOf" srcId="{EB14C6F1-6E99-4180-A04E-D00F567D68F5}" destId="{5E98DA1C-A273-45FD-8C84-245DA2D37719}" srcOrd="0" destOrd="0" presId="urn:microsoft.com/office/officeart/2005/8/layout/orgChart1"/>
    <dgm:cxn modelId="{0FBFA977-2C77-47BF-A0C8-4C85E008FFB2}" type="presParOf" srcId="{5E98DA1C-A273-45FD-8C84-245DA2D37719}" destId="{901B3078-2251-40B5-B048-64F4648E7EA1}" srcOrd="0" destOrd="0" presId="urn:microsoft.com/office/officeart/2005/8/layout/orgChart1"/>
    <dgm:cxn modelId="{7DF08D0B-6EAC-47BB-8C20-442FEADA95AB}" type="presParOf" srcId="{5E98DA1C-A273-45FD-8C84-245DA2D37719}" destId="{ABDF2FD1-1E0C-434E-AE15-E15860706D31}" srcOrd="1" destOrd="0" presId="urn:microsoft.com/office/officeart/2005/8/layout/orgChart1"/>
    <dgm:cxn modelId="{A9610429-925B-4A79-9E63-3D8C18A7A2AF}" type="presParOf" srcId="{EB14C6F1-6E99-4180-A04E-D00F567D68F5}" destId="{CB08E346-059E-47DD-95B4-33B55C6AB1CA}" srcOrd="1" destOrd="0" presId="urn:microsoft.com/office/officeart/2005/8/layout/orgChart1"/>
    <dgm:cxn modelId="{9A24E098-009F-4ABB-A641-E55FE7F56A80}" type="presParOf" srcId="{EB14C6F1-6E99-4180-A04E-D00F567D68F5}" destId="{101F261B-3F37-400C-9693-14D22271F33D}" srcOrd="2" destOrd="0" presId="urn:microsoft.com/office/officeart/2005/8/layout/orgChart1"/>
    <dgm:cxn modelId="{BC9E5BE3-CF58-459C-ACDE-624B844C0EA4}" type="presParOf" srcId="{AA4930E1-9369-439B-A2B1-161B929BBF83}" destId="{FC9E5020-3F34-4AAF-84BD-223A92F87DC9}" srcOrd="2" destOrd="0" presId="urn:microsoft.com/office/officeart/2005/8/layout/orgChart1"/>
    <dgm:cxn modelId="{29950AFF-1234-4AD4-A2D5-E7778B6E3C57}" type="presParOf" srcId="{39F5A7BD-C401-4946-8E8D-DC7CC7B34B77}" destId="{DC35AB3D-4FFB-4232-8E26-A0C9BC127F3B}" srcOrd="8" destOrd="0" presId="urn:microsoft.com/office/officeart/2005/8/layout/orgChart1"/>
    <dgm:cxn modelId="{F04CA99A-257B-406A-A608-981B52C26202}" type="presParOf" srcId="{39F5A7BD-C401-4946-8E8D-DC7CC7B34B77}" destId="{0A99FF3F-65FD-477C-81C1-88D38507A132}" srcOrd="9" destOrd="0" presId="urn:microsoft.com/office/officeart/2005/8/layout/orgChart1"/>
    <dgm:cxn modelId="{44426854-DB86-48F8-9689-1BAB2FAAA552}" type="presParOf" srcId="{0A99FF3F-65FD-477C-81C1-88D38507A132}" destId="{0E6D1457-F1B6-4C1F-8F1B-A4B271D1091C}" srcOrd="0" destOrd="0" presId="urn:microsoft.com/office/officeart/2005/8/layout/orgChart1"/>
    <dgm:cxn modelId="{68A1D96E-0C1E-4B23-A487-4D872977C834}" type="presParOf" srcId="{0E6D1457-F1B6-4C1F-8F1B-A4B271D1091C}" destId="{924A49D4-E97A-4CD2-8F7D-BC5B66DBB0A4}" srcOrd="0" destOrd="0" presId="urn:microsoft.com/office/officeart/2005/8/layout/orgChart1"/>
    <dgm:cxn modelId="{343F6BBB-F75F-43ED-802C-14127935B22F}" type="presParOf" srcId="{0E6D1457-F1B6-4C1F-8F1B-A4B271D1091C}" destId="{6F434215-4ABF-4C81-9637-0ED6311BDCED}" srcOrd="1" destOrd="0" presId="urn:microsoft.com/office/officeart/2005/8/layout/orgChart1"/>
    <dgm:cxn modelId="{153AA6D0-A53F-4BD5-99C1-F659946D2E50}" type="presParOf" srcId="{0A99FF3F-65FD-477C-81C1-88D38507A132}" destId="{4219A14E-D402-4515-9F67-2E86DF152CB5}" srcOrd="1" destOrd="0" presId="urn:microsoft.com/office/officeart/2005/8/layout/orgChart1"/>
    <dgm:cxn modelId="{AFEE9CA4-F6D2-467A-870D-08F9D2F8FAC9}" type="presParOf" srcId="{4219A14E-D402-4515-9F67-2E86DF152CB5}" destId="{8F847A50-CC34-4799-A443-2969B138129A}" srcOrd="0" destOrd="0" presId="urn:microsoft.com/office/officeart/2005/8/layout/orgChart1"/>
    <dgm:cxn modelId="{824E81BE-FD2B-4A0C-8D6B-3DFE52A019A6}" type="presParOf" srcId="{4219A14E-D402-4515-9F67-2E86DF152CB5}" destId="{A460C6F2-BE1D-406A-AE43-87964ED68FCD}" srcOrd="1" destOrd="0" presId="urn:microsoft.com/office/officeart/2005/8/layout/orgChart1"/>
    <dgm:cxn modelId="{8066A1E5-F715-4C94-830C-EB904A3FD2FA}" type="presParOf" srcId="{A460C6F2-BE1D-406A-AE43-87964ED68FCD}" destId="{6F94660B-4501-46EC-8481-BA995EBDABD9}" srcOrd="0" destOrd="0" presId="urn:microsoft.com/office/officeart/2005/8/layout/orgChart1"/>
    <dgm:cxn modelId="{8DED94F7-2103-4B00-88BE-F29E05442E3E}" type="presParOf" srcId="{6F94660B-4501-46EC-8481-BA995EBDABD9}" destId="{57EC7246-DBF5-472E-9518-085661C0E74C}" srcOrd="0" destOrd="0" presId="urn:microsoft.com/office/officeart/2005/8/layout/orgChart1"/>
    <dgm:cxn modelId="{00049B82-B43E-437E-B323-8DF66036BB48}" type="presParOf" srcId="{6F94660B-4501-46EC-8481-BA995EBDABD9}" destId="{11C4C407-B825-41A1-A06D-34D4CDAFE85A}" srcOrd="1" destOrd="0" presId="urn:microsoft.com/office/officeart/2005/8/layout/orgChart1"/>
    <dgm:cxn modelId="{0889BE8E-6D0E-40B9-8046-6B3C8A8B811C}" type="presParOf" srcId="{A460C6F2-BE1D-406A-AE43-87964ED68FCD}" destId="{C5322689-4FEC-4013-880B-0523FD88DA6C}" srcOrd="1" destOrd="0" presId="urn:microsoft.com/office/officeart/2005/8/layout/orgChart1"/>
    <dgm:cxn modelId="{7B001B77-B43B-4C06-B14A-AA2C1FCCF5C8}" type="presParOf" srcId="{A460C6F2-BE1D-406A-AE43-87964ED68FCD}" destId="{A1F3983C-5DEA-4D5B-91C5-E4527DFC2506}" srcOrd="2" destOrd="0" presId="urn:microsoft.com/office/officeart/2005/8/layout/orgChart1"/>
    <dgm:cxn modelId="{1131FA3F-5FA1-4F1A-8B93-2F26F8981BDD}" type="presParOf" srcId="{4219A14E-D402-4515-9F67-2E86DF152CB5}" destId="{9BA2ED22-69BD-4805-A073-91F9075D2B46}" srcOrd="2" destOrd="0" presId="urn:microsoft.com/office/officeart/2005/8/layout/orgChart1"/>
    <dgm:cxn modelId="{7097E99D-C739-4952-B4CC-C54DA158D8B1}" type="presParOf" srcId="{4219A14E-D402-4515-9F67-2E86DF152CB5}" destId="{9D049A94-057F-485A-BD98-B4436475C03F}" srcOrd="3" destOrd="0" presId="urn:microsoft.com/office/officeart/2005/8/layout/orgChart1"/>
    <dgm:cxn modelId="{72CABFC1-201C-4B3F-8C0B-CB0A959EBE2A}" type="presParOf" srcId="{9D049A94-057F-485A-BD98-B4436475C03F}" destId="{1B3B871F-B854-467C-AD46-EB4DA8040D1E}" srcOrd="0" destOrd="0" presId="urn:microsoft.com/office/officeart/2005/8/layout/orgChart1"/>
    <dgm:cxn modelId="{EF22E572-CA26-4269-B711-83B0759D20B6}" type="presParOf" srcId="{1B3B871F-B854-467C-AD46-EB4DA8040D1E}" destId="{52C722D9-3A55-4BA1-B5FE-CEA252C222C9}" srcOrd="0" destOrd="0" presId="urn:microsoft.com/office/officeart/2005/8/layout/orgChart1"/>
    <dgm:cxn modelId="{BF197804-6DF8-4983-BE2A-10A38E220DF4}" type="presParOf" srcId="{1B3B871F-B854-467C-AD46-EB4DA8040D1E}" destId="{CE1611B5-8817-49E5-A4B9-0BF2081E8EB7}" srcOrd="1" destOrd="0" presId="urn:microsoft.com/office/officeart/2005/8/layout/orgChart1"/>
    <dgm:cxn modelId="{3D7E8812-1B94-4197-9DFA-BA0C9851DE67}" type="presParOf" srcId="{9D049A94-057F-485A-BD98-B4436475C03F}" destId="{93DA62F4-1F15-494E-92DF-0EA5666D48E9}" srcOrd="1" destOrd="0" presId="urn:microsoft.com/office/officeart/2005/8/layout/orgChart1"/>
    <dgm:cxn modelId="{337AC319-2F57-41FF-8710-C8F8FB5A8AC1}" type="presParOf" srcId="{9D049A94-057F-485A-BD98-B4436475C03F}" destId="{5B727219-5C21-4E6E-9F38-9C9EA5526F17}" srcOrd="2" destOrd="0" presId="urn:microsoft.com/office/officeart/2005/8/layout/orgChart1"/>
    <dgm:cxn modelId="{EA958064-D80C-481C-B7ED-62688E77E506}" type="presParOf" srcId="{4219A14E-D402-4515-9F67-2E86DF152CB5}" destId="{C329D143-7DCC-4E3C-93A7-F623D9BEF44D}" srcOrd="4" destOrd="0" presId="urn:microsoft.com/office/officeart/2005/8/layout/orgChart1"/>
    <dgm:cxn modelId="{D85648FF-DB09-454C-BCE9-92490AD7EF22}" type="presParOf" srcId="{4219A14E-D402-4515-9F67-2E86DF152CB5}" destId="{0733E9C1-3C58-4F4E-99C1-4E54922FE799}" srcOrd="5" destOrd="0" presId="urn:microsoft.com/office/officeart/2005/8/layout/orgChart1"/>
    <dgm:cxn modelId="{BBB7336E-E824-48F4-BF36-D696EF6EC5BC}" type="presParOf" srcId="{0733E9C1-3C58-4F4E-99C1-4E54922FE799}" destId="{70341F13-2287-450B-A394-B58ED08AA815}" srcOrd="0" destOrd="0" presId="urn:microsoft.com/office/officeart/2005/8/layout/orgChart1"/>
    <dgm:cxn modelId="{47CFB40B-D846-4565-9876-B9A6E47DD37E}" type="presParOf" srcId="{70341F13-2287-450B-A394-B58ED08AA815}" destId="{C9D8AB3C-E5B7-4D82-A08A-E98580C5055B}" srcOrd="0" destOrd="0" presId="urn:microsoft.com/office/officeart/2005/8/layout/orgChart1"/>
    <dgm:cxn modelId="{4CF4F5D9-C1E8-494E-ADC9-EA15D55FFB41}" type="presParOf" srcId="{70341F13-2287-450B-A394-B58ED08AA815}" destId="{4E86BF0C-5DA6-45DC-9A87-F5A4DD35AF49}" srcOrd="1" destOrd="0" presId="urn:microsoft.com/office/officeart/2005/8/layout/orgChart1"/>
    <dgm:cxn modelId="{682F9151-509B-469C-A341-2D304FDA4915}" type="presParOf" srcId="{0733E9C1-3C58-4F4E-99C1-4E54922FE799}" destId="{2640D2DF-4FC5-4596-BF4C-2613D32D8B4E}" srcOrd="1" destOrd="0" presId="urn:microsoft.com/office/officeart/2005/8/layout/orgChart1"/>
    <dgm:cxn modelId="{4FB1DA7A-C184-4316-8735-E7F95A173964}" type="presParOf" srcId="{0733E9C1-3C58-4F4E-99C1-4E54922FE799}" destId="{61FD7629-9CE0-4559-9A5D-9422050386C8}" srcOrd="2" destOrd="0" presId="urn:microsoft.com/office/officeart/2005/8/layout/orgChart1"/>
    <dgm:cxn modelId="{DFAEBB8A-FC49-47E9-97CE-A314D6FFDDF6}" type="presParOf" srcId="{4219A14E-D402-4515-9F67-2E86DF152CB5}" destId="{53B19617-CAF6-4657-8034-2FD135E0A41A}" srcOrd="6" destOrd="0" presId="urn:microsoft.com/office/officeart/2005/8/layout/orgChart1"/>
    <dgm:cxn modelId="{1EB9C2C0-658B-481B-BD7D-97CE4F0E7995}" type="presParOf" srcId="{4219A14E-D402-4515-9F67-2E86DF152CB5}" destId="{8BE741AE-EFB8-4185-80D4-88EFEC79E7EB}" srcOrd="7" destOrd="0" presId="urn:microsoft.com/office/officeart/2005/8/layout/orgChart1"/>
    <dgm:cxn modelId="{941F857A-A480-42C7-80CF-76668D411B4F}" type="presParOf" srcId="{8BE741AE-EFB8-4185-80D4-88EFEC79E7EB}" destId="{3DB99C16-10F3-4B66-91B9-21BCB2C2D96E}" srcOrd="0" destOrd="0" presId="urn:microsoft.com/office/officeart/2005/8/layout/orgChart1"/>
    <dgm:cxn modelId="{997E1720-B86D-44EC-8FC0-724D195C4176}" type="presParOf" srcId="{3DB99C16-10F3-4B66-91B9-21BCB2C2D96E}" destId="{7966A048-677B-4B2A-BF85-0A786EFFCBDA}" srcOrd="0" destOrd="0" presId="urn:microsoft.com/office/officeart/2005/8/layout/orgChart1"/>
    <dgm:cxn modelId="{B79C46CF-A925-42D8-8A81-C95CF05624C7}" type="presParOf" srcId="{3DB99C16-10F3-4B66-91B9-21BCB2C2D96E}" destId="{2D7F166B-A874-4DAB-8BC2-BC8F693AF8A8}" srcOrd="1" destOrd="0" presId="urn:microsoft.com/office/officeart/2005/8/layout/orgChart1"/>
    <dgm:cxn modelId="{C736E26E-2BC6-4073-B8DF-C58E87A048E1}" type="presParOf" srcId="{8BE741AE-EFB8-4185-80D4-88EFEC79E7EB}" destId="{3E7D9229-F361-4BE8-9498-A94A9B274E98}" srcOrd="1" destOrd="0" presId="urn:microsoft.com/office/officeart/2005/8/layout/orgChart1"/>
    <dgm:cxn modelId="{E65DDA00-A861-451A-A2A3-DE2F018AB359}" type="presParOf" srcId="{8BE741AE-EFB8-4185-80D4-88EFEC79E7EB}" destId="{866A531E-686D-4E47-9E45-9410BD92720A}" srcOrd="2" destOrd="0" presId="urn:microsoft.com/office/officeart/2005/8/layout/orgChart1"/>
    <dgm:cxn modelId="{FF25839D-7572-4F0C-B863-292FEECFCCE9}" type="presParOf" srcId="{0A99FF3F-65FD-477C-81C1-88D38507A132}" destId="{436EE18A-53D9-4AC7-911F-DFA7D1991C6B}" srcOrd="2" destOrd="0" presId="urn:microsoft.com/office/officeart/2005/8/layout/orgChart1"/>
    <dgm:cxn modelId="{06DF8DB6-ACE3-4F20-9E1B-05835CF3F8A2}" type="presParOf" srcId="{9AE9DF00-383B-4713-BA68-B54DBAA73515}" destId="{67CD5DEB-3CC4-4710-BD2B-727E55A50877}" srcOrd="2" destOrd="0" presId="urn:microsoft.com/office/officeart/2005/8/layout/orgChart1"/>
    <dgm:cxn modelId="{10093716-9466-48DB-A6E4-4CF8D011897D}" type="presParOf" srcId="{AD9984FC-7F99-4311-B933-77886C628D45}" destId="{A86AABDB-BE67-4DBE-9E3B-A6547D894849}" srcOrd="2" destOrd="0" presId="urn:microsoft.com/office/officeart/2005/8/layout/orgChart1"/>
    <dgm:cxn modelId="{2F8A7FFB-B68F-4F80-8FCC-F152E253DBB3}" type="presParOf" srcId="{AD9984FC-7F99-4311-B933-77886C628D45}" destId="{CA135208-CC69-4BB5-A5BA-614F475A0845}" srcOrd="3" destOrd="0" presId="urn:microsoft.com/office/officeart/2005/8/layout/orgChart1"/>
    <dgm:cxn modelId="{AACE0305-3803-480B-B12C-305FBC0AF075}" type="presParOf" srcId="{CA135208-CC69-4BB5-A5BA-614F475A0845}" destId="{B6310C4B-5E63-459A-9793-D0E83AB90C0F}" srcOrd="0" destOrd="0" presId="urn:microsoft.com/office/officeart/2005/8/layout/orgChart1"/>
    <dgm:cxn modelId="{9563BDD9-479C-4864-B2B6-154FF0E68AD6}" type="presParOf" srcId="{B6310C4B-5E63-459A-9793-D0E83AB90C0F}" destId="{B94123BB-5C69-4716-9BD0-9FEA21E7532F}" srcOrd="0" destOrd="0" presId="urn:microsoft.com/office/officeart/2005/8/layout/orgChart1"/>
    <dgm:cxn modelId="{373844D7-09AC-4A5F-A651-19DAFE37E214}" type="presParOf" srcId="{B6310C4B-5E63-459A-9793-D0E83AB90C0F}" destId="{73E3B1CC-C012-4D44-9DD8-0993C59B7564}" srcOrd="1" destOrd="0" presId="urn:microsoft.com/office/officeart/2005/8/layout/orgChart1"/>
    <dgm:cxn modelId="{7C8DEF01-9167-4D70-8381-C1D86EF1C255}" type="presParOf" srcId="{CA135208-CC69-4BB5-A5BA-614F475A0845}" destId="{539FD1D6-4F9B-486B-9D07-539C45900444}" srcOrd="1" destOrd="0" presId="urn:microsoft.com/office/officeart/2005/8/layout/orgChart1"/>
    <dgm:cxn modelId="{3672AFE2-A8F1-4DB0-B66B-66B94BADC821}" type="presParOf" srcId="{CA135208-CC69-4BB5-A5BA-614F475A0845}" destId="{701A84C8-1A3D-43CD-A4A6-3853956BE1EE}" srcOrd="2" destOrd="0" presId="urn:microsoft.com/office/officeart/2005/8/layout/orgChart1"/>
    <dgm:cxn modelId="{29E261A3-423C-4212-96BB-04E591701FA9}" type="presParOf" srcId="{AD9984FC-7F99-4311-B933-77886C628D45}" destId="{AD500E65-95BF-4AC7-B6A3-DE665825F8B8}" srcOrd="4" destOrd="0" presId="urn:microsoft.com/office/officeart/2005/8/layout/orgChart1"/>
    <dgm:cxn modelId="{402631B1-80A5-4D94-A6AE-B04D565E08B6}" type="presParOf" srcId="{AD9984FC-7F99-4311-B933-77886C628D45}" destId="{EE4E1629-A001-4495-BBE3-BCED3F6DE9D1}" srcOrd="5" destOrd="0" presId="urn:microsoft.com/office/officeart/2005/8/layout/orgChart1"/>
    <dgm:cxn modelId="{62FC284C-5101-4FAB-B038-6BEE6F87BA49}" type="presParOf" srcId="{EE4E1629-A001-4495-BBE3-BCED3F6DE9D1}" destId="{D40573E9-C86C-4708-BE67-9F76D437AD31}" srcOrd="0" destOrd="0" presId="urn:microsoft.com/office/officeart/2005/8/layout/orgChart1"/>
    <dgm:cxn modelId="{D66A620F-8E56-455D-AE38-86A63594700C}" type="presParOf" srcId="{D40573E9-C86C-4708-BE67-9F76D437AD31}" destId="{E060FA0A-299D-41EB-81B2-4FB6923B8E59}" srcOrd="0" destOrd="0" presId="urn:microsoft.com/office/officeart/2005/8/layout/orgChart1"/>
    <dgm:cxn modelId="{E77EEBEB-1ACF-48E2-B9C6-55008FA87C81}" type="presParOf" srcId="{D40573E9-C86C-4708-BE67-9F76D437AD31}" destId="{6B341FC9-A90F-461D-B748-FE2200498CFB}" srcOrd="1" destOrd="0" presId="urn:microsoft.com/office/officeart/2005/8/layout/orgChart1"/>
    <dgm:cxn modelId="{62F79EE8-F0E9-45BC-BED5-81EE11BA8891}" type="presParOf" srcId="{EE4E1629-A001-4495-BBE3-BCED3F6DE9D1}" destId="{B5E4BA40-A809-4A41-84F1-FE51E8872133}" srcOrd="1" destOrd="0" presId="urn:microsoft.com/office/officeart/2005/8/layout/orgChart1"/>
    <dgm:cxn modelId="{8B28FDC2-AF3E-4966-8483-80B6B4E81794}" type="presParOf" srcId="{B5E4BA40-A809-4A41-84F1-FE51E8872133}" destId="{49CB6210-5E09-4DEF-89EA-CEE98677EED7}" srcOrd="0" destOrd="0" presId="urn:microsoft.com/office/officeart/2005/8/layout/orgChart1"/>
    <dgm:cxn modelId="{B11FC6D1-16C3-4A3C-81A8-18C3E798A77A}" type="presParOf" srcId="{B5E4BA40-A809-4A41-84F1-FE51E8872133}" destId="{453C8269-A1F6-4CC4-AF76-26AB724075EF}" srcOrd="1" destOrd="0" presId="urn:microsoft.com/office/officeart/2005/8/layout/orgChart1"/>
    <dgm:cxn modelId="{50140A25-64D4-437A-A5F3-095C96CA2F34}" type="presParOf" srcId="{453C8269-A1F6-4CC4-AF76-26AB724075EF}" destId="{92635793-1745-4E61-A1F0-B75101D16F73}" srcOrd="0" destOrd="0" presId="urn:microsoft.com/office/officeart/2005/8/layout/orgChart1"/>
    <dgm:cxn modelId="{859C2DEB-DC4D-43E2-BAA6-6572B2DD533D}" type="presParOf" srcId="{92635793-1745-4E61-A1F0-B75101D16F73}" destId="{39C8021A-BF60-40BA-A52D-BE2ADCFBB379}" srcOrd="0" destOrd="0" presId="urn:microsoft.com/office/officeart/2005/8/layout/orgChart1"/>
    <dgm:cxn modelId="{3EA366C9-4530-436F-A24B-BFD4A2517EFF}" type="presParOf" srcId="{92635793-1745-4E61-A1F0-B75101D16F73}" destId="{8F505BCA-2F5E-40B3-B581-0173C2163B88}" srcOrd="1" destOrd="0" presId="urn:microsoft.com/office/officeart/2005/8/layout/orgChart1"/>
    <dgm:cxn modelId="{12F17949-391A-4B4F-99C3-5B10989EE098}" type="presParOf" srcId="{453C8269-A1F6-4CC4-AF76-26AB724075EF}" destId="{B89F8BE2-2141-4740-8918-7948A3A2BBC2}" srcOrd="1" destOrd="0" presId="urn:microsoft.com/office/officeart/2005/8/layout/orgChart1"/>
    <dgm:cxn modelId="{A2223D7C-114F-446C-AED0-3A0602B6BFDA}" type="presParOf" srcId="{453C8269-A1F6-4CC4-AF76-26AB724075EF}" destId="{B7BA6D73-4F65-4FF8-8288-D28FDEE0656B}" srcOrd="2" destOrd="0" presId="urn:microsoft.com/office/officeart/2005/8/layout/orgChart1"/>
    <dgm:cxn modelId="{94F93ABF-F90D-4633-88C2-D0D79ACC064C}" type="presParOf" srcId="{EE4E1629-A001-4495-BBE3-BCED3F6DE9D1}" destId="{36CA6486-F751-4979-8D2D-C64FB7D576B7}" srcOrd="2" destOrd="0" presId="urn:microsoft.com/office/officeart/2005/8/layout/orgChart1"/>
    <dgm:cxn modelId="{1FC87680-EDF8-49CA-AD5D-D61F3B496157}" type="presParOf" srcId="{AD9984FC-7F99-4311-B933-77886C628D45}" destId="{892868DE-FA3F-456B-9909-93FE86A72657}" srcOrd="6" destOrd="0" presId="urn:microsoft.com/office/officeart/2005/8/layout/orgChart1"/>
    <dgm:cxn modelId="{46F41F30-C6BF-401C-932F-2BB528752AC4}" type="presParOf" srcId="{AD9984FC-7F99-4311-B933-77886C628D45}" destId="{0E216B59-E868-492C-BD11-4798F5EA1D95}" srcOrd="7" destOrd="0" presId="urn:microsoft.com/office/officeart/2005/8/layout/orgChart1"/>
    <dgm:cxn modelId="{E192DF12-47D8-4B61-9BBA-3571B0F16070}" type="presParOf" srcId="{0E216B59-E868-492C-BD11-4798F5EA1D95}" destId="{E14A9FF6-67F7-410C-BF12-CFA132B59700}" srcOrd="0" destOrd="0" presId="urn:microsoft.com/office/officeart/2005/8/layout/orgChart1"/>
    <dgm:cxn modelId="{85888260-8C40-45D3-A460-9BA6B6B32E86}" type="presParOf" srcId="{E14A9FF6-67F7-410C-BF12-CFA132B59700}" destId="{C51BF866-E3D8-4FC4-B274-A6EE0B240849}" srcOrd="0" destOrd="0" presId="urn:microsoft.com/office/officeart/2005/8/layout/orgChart1"/>
    <dgm:cxn modelId="{355BA334-7BC4-4669-9636-9202461F550C}" type="presParOf" srcId="{E14A9FF6-67F7-410C-BF12-CFA132B59700}" destId="{9FC59AA9-3FB9-48CD-A049-2DE9A8B55DEA}" srcOrd="1" destOrd="0" presId="urn:microsoft.com/office/officeart/2005/8/layout/orgChart1"/>
    <dgm:cxn modelId="{5931DAC0-2819-415F-B659-A09582C3FF63}" type="presParOf" srcId="{0E216B59-E868-492C-BD11-4798F5EA1D95}" destId="{6F0073A2-73A2-44F1-B906-37C2B7ACF91D}" srcOrd="1" destOrd="0" presId="urn:microsoft.com/office/officeart/2005/8/layout/orgChart1"/>
    <dgm:cxn modelId="{6DCD5806-FE57-4740-9D34-3CCD7D1847DC}" type="presParOf" srcId="{6F0073A2-73A2-44F1-B906-37C2B7ACF91D}" destId="{84BFBE6D-66A9-4778-A101-1E980BBC3A7C}" srcOrd="0" destOrd="0" presId="urn:microsoft.com/office/officeart/2005/8/layout/orgChart1"/>
    <dgm:cxn modelId="{9F2F0E74-7E36-4A56-A3A7-9DD0D8C88766}" type="presParOf" srcId="{6F0073A2-73A2-44F1-B906-37C2B7ACF91D}" destId="{3CA10996-28D2-4D8E-8A88-626ADDD143DA}" srcOrd="1" destOrd="0" presId="urn:microsoft.com/office/officeart/2005/8/layout/orgChart1"/>
    <dgm:cxn modelId="{E3BBDF6D-B6E5-4064-BFDE-DFD78A320F6D}" type="presParOf" srcId="{3CA10996-28D2-4D8E-8A88-626ADDD143DA}" destId="{5AD29EA3-BED1-4F93-AFBC-40F75C1883FD}" srcOrd="0" destOrd="0" presId="urn:microsoft.com/office/officeart/2005/8/layout/orgChart1"/>
    <dgm:cxn modelId="{A7943574-B84A-4B99-A047-0F98940E9271}" type="presParOf" srcId="{5AD29EA3-BED1-4F93-AFBC-40F75C1883FD}" destId="{5933B140-47DD-4D81-A8D8-F4EB3AC841AC}" srcOrd="0" destOrd="0" presId="urn:microsoft.com/office/officeart/2005/8/layout/orgChart1"/>
    <dgm:cxn modelId="{4C0D4933-8D24-465E-A938-C8A2480A131B}" type="presParOf" srcId="{5AD29EA3-BED1-4F93-AFBC-40F75C1883FD}" destId="{92232E44-81BB-40C5-A7C3-CE271BCEF949}" srcOrd="1" destOrd="0" presId="urn:microsoft.com/office/officeart/2005/8/layout/orgChart1"/>
    <dgm:cxn modelId="{D38503B8-2917-4E8A-A8BB-EDC60328861C}" type="presParOf" srcId="{3CA10996-28D2-4D8E-8A88-626ADDD143DA}" destId="{7D27EE9E-4333-44A4-A8A2-76043169797A}" srcOrd="1" destOrd="0" presId="urn:microsoft.com/office/officeart/2005/8/layout/orgChart1"/>
    <dgm:cxn modelId="{7F5F188C-B027-4133-BB0C-BA8F413F89D9}" type="presParOf" srcId="{3CA10996-28D2-4D8E-8A88-626ADDD143DA}" destId="{989884D9-C418-457A-A9B6-8F097021068D}" srcOrd="2" destOrd="0" presId="urn:microsoft.com/office/officeart/2005/8/layout/orgChart1"/>
    <dgm:cxn modelId="{F336C91A-182E-45BA-AF33-614F786D4444}" type="presParOf" srcId="{0E216B59-E868-492C-BD11-4798F5EA1D95}" destId="{5FD77B48-F092-41B0-9711-63E42E8C3D5D}" srcOrd="2" destOrd="0" presId="urn:microsoft.com/office/officeart/2005/8/layout/orgChart1"/>
    <dgm:cxn modelId="{9A09D383-02FF-493D-BAC3-AB573B0777E4}" type="presParOf" srcId="{AD9984FC-7F99-4311-B933-77886C628D45}" destId="{A0FA2BE3-C156-41E9-B6B1-FB6E8B146081}" srcOrd="8" destOrd="0" presId="urn:microsoft.com/office/officeart/2005/8/layout/orgChart1"/>
    <dgm:cxn modelId="{0ED504A6-21CE-4B02-9F41-0F28005DED74}" type="presParOf" srcId="{AD9984FC-7F99-4311-B933-77886C628D45}" destId="{55E97DE9-2658-46C3-AA7F-9081337C0CE6}" srcOrd="9" destOrd="0" presId="urn:microsoft.com/office/officeart/2005/8/layout/orgChart1"/>
    <dgm:cxn modelId="{F9D452A0-F466-4A8A-A337-BA95B1264A3F}" type="presParOf" srcId="{55E97DE9-2658-46C3-AA7F-9081337C0CE6}" destId="{7278F037-FE75-42AF-A33B-E9EC1B5F55AE}" srcOrd="0" destOrd="0" presId="urn:microsoft.com/office/officeart/2005/8/layout/orgChart1"/>
    <dgm:cxn modelId="{1048170E-5CC1-4336-B63A-5A36B01E17DE}" type="presParOf" srcId="{7278F037-FE75-42AF-A33B-E9EC1B5F55AE}" destId="{06DD17CA-236E-4859-BB61-E237B20DA056}" srcOrd="0" destOrd="0" presId="urn:microsoft.com/office/officeart/2005/8/layout/orgChart1"/>
    <dgm:cxn modelId="{3EF2A072-7193-4755-9EA9-BD31CE15D00E}" type="presParOf" srcId="{7278F037-FE75-42AF-A33B-E9EC1B5F55AE}" destId="{CE9B3F3F-0753-4FDB-8553-F978A8D06C9D}" srcOrd="1" destOrd="0" presId="urn:microsoft.com/office/officeart/2005/8/layout/orgChart1"/>
    <dgm:cxn modelId="{7D16F7AA-F1DB-4BF7-8441-0DBEC39D8A02}" type="presParOf" srcId="{55E97DE9-2658-46C3-AA7F-9081337C0CE6}" destId="{EBB02D9D-45D3-4AD4-B38C-03408A9E346F}" srcOrd="1" destOrd="0" presId="urn:microsoft.com/office/officeart/2005/8/layout/orgChart1"/>
    <dgm:cxn modelId="{F319BD0E-D31E-49D2-8561-8DCF9DD389BA}" type="presParOf" srcId="{EBB02D9D-45D3-4AD4-B38C-03408A9E346F}" destId="{84FFBFBF-0EAF-49D8-A7DD-AC80D388558C}" srcOrd="0" destOrd="0" presId="urn:microsoft.com/office/officeart/2005/8/layout/orgChart1"/>
    <dgm:cxn modelId="{B378838B-D680-4E89-BCC9-590F22CAFF03}" type="presParOf" srcId="{EBB02D9D-45D3-4AD4-B38C-03408A9E346F}" destId="{E2491576-41DC-491B-BD7E-0D8CA3FF2E4C}" srcOrd="1" destOrd="0" presId="urn:microsoft.com/office/officeart/2005/8/layout/orgChart1"/>
    <dgm:cxn modelId="{5A6A2D9D-850B-4550-B810-9E4FA20E50EC}" type="presParOf" srcId="{E2491576-41DC-491B-BD7E-0D8CA3FF2E4C}" destId="{0C4E797B-EA6D-4EE1-AD3B-82504B851680}" srcOrd="0" destOrd="0" presId="urn:microsoft.com/office/officeart/2005/8/layout/orgChart1"/>
    <dgm:cxn modelId="{A87FFB82-4F39-4769-A0EE-2CEBE4AB6112}" type="presParOf" srcId="{0C4E797B-EA6D-4EE1-AD3B-82504B851680}" destId="{A71D1EC5-AC46-4350-8796-307499F8CBA7}" srcOrd="0" destOrd="0" presId="urn:microsoft.com/office/officeart/2005/8/layout/orgChart1"/>
    <dgm:cxn modelId="{94080D9B-0CE1-4BCF-9EDE-7CD1412DCB82}" type="presParOf" srcId="{0C4E797B-EA6D-4EE1-AD3B-82504B851680}" destId="{803B10E7-9A21-479F-BCE5-B6DB9567BD34}" srcOrd="1" destOrd="0" presId="urn:microsoft.com/office/officeart/2005/8/layout/orgChart1"/>
    <dgm:cxn modelId="{527D3B4E-AEE7-4FC5-B373-FABD7C629652}" type="presParOf" srcId="{E2491576-41DC-491B-BD7E-0D8CA3FF2E4C}" destId="{0F6FAC96-7FC4-40E2-A407-2B96B9E161B3}" srcOrd="1" destOrd="0" presId="urn:microsoft.com/office/officeart/2005/8/layout/orgChart1"/>
    <dgm:cxn modelId="{A5785976-FC80-48A3-BDFE-7D6DCF447AB4}" type="presParOf" srcId="{E2491576-41DC-491B-BD7E-0D8CA3FF2E4C}" destId="{5DED831C-9900-405D-B31F-3ED24E8A1B38}" srcOrd="2" destOrd="0" presId="urn:microsoft.com/office/officeart/2005/8/layout/orgChart1"/>
    <dgm:cxn modelId="{7556268F-4665-49E7-BE7F-3359DF230487}" type="presParOf" srcId="{55E97DE9-2658-46C3-AA7F-9081337C0CE6}" destId="{F4CFEAEC-44C8-4006-A7C2-70AB8132E070}" srcOrd="2" destOrd="0" presId="urn:microsoft.com/office/officeart/2005/8/layout/orgChart1"/>
    <dgm:cxn modelId="{DD87E91D-7F13-45CC-B2F6-C434CA8B77D7}" type="presParOf" srcId="{AD9984FC-7F99-4311-B933-77886C628D45}" destId="{29BADD2E-1C67-4A3D-9E6B-69D611722CD3}" srcOrd="10" destOrd="0" presId="urn:microsoft.com/office/officeart/2005/8/layout/orgChart1"/>
    <dgm:cxn modelId="{6E20CEE8-C07F-4038-B4CC-75363508956B}" type="presParOf" srcId="{AD9984FC-7F99-4311-B933-77886C628D45}" destId="{C16F0510-EFA0-471B-85E9-E562D7592BDA}" srcOrd="11" destOrd="0" presId="urn:microsoft.com/office/officeart/2005/8/layout/orgChart1"/>
    <dgm:cxn modelId="{EDDEE40A-B93C-4FCE-9463-BD56BCC92F63}" type="presParOf" srcId="{C16F0510-EFA0-471B-85E9-E562D7592BDA}" destId="{3ACA61EF-D6AE-4707-8BFA-40D64BEF4582}" srcOrd="0" destOrd="0" presId="urn:microsoft.com/office/officeart/2005/8/layout/orgChart1"/>
    <dgm:cxn modelId="{C620190F-B652-4581-A895-CB56F3C90210}" type="presParOf" srcId="{3ACA61EF-D6AE-4707-8BFA-40D64BEF4582}" destId="{A1AB14D4-A178-4825-9D0E-78D07E086F7D}" srcOrd="0" destOrd="0" presId="urn:microsoft.com/office/officeart/2005/8/layout/orgChart1"/>
    <dgm:cxn modelId="{DE77A30B-A760-406B-B7BA-15E83553EA36}" type="presParOf" srcId="{3ACA61EF-D6AE-4707-8BFA-40D64BEF4582}" destId="{D6B84A38-FAC7-4F72-98E8-D14DF1547032}" srcOrd="1" destOrd="0" presId="urn:microsoft.com/office/officeart/2005/8/layout/orgChart1"/>
    <dgm:cxn modelId="{C4CF9DCB-0E81-4FB6-906A-573744C5F9D8}" type="presParOf" srcId="{C16F0510-EFA0-471B-85E9-E562D7592BDA}" destId="{F79990EB-982B-4DF7-BEC8-6D254B550E4C}" srcOrd="1" destOrd="0" presId="urn:microsoft.com/office/officeart/2005/8/layout/orgChart1"/>
    <dgm:cxn modelId="{1D5111E3-BFEF-4177-8109-9C001A221771}" type="presParOf" srcId="{F79990EB-982B-4DF7-BEC8-6D254B550E4C}" destId="{D4DCDB34-CC50-48CE-94C7-F4C4C8E909F4}" srcOrd="0" destOrd="0" presId="urn:microsoft.com/office/officeart/2005/8/layout/orgChart1"/>
    <dgm:cxn modelId="{323039BB-22C2-477C-9863-42EA7D97E2A6}" type="presParOf" srcId="{F79990EB-982B-4DF7-BEC8-6D254B550E4C}" destId="{FE12B098-0433-4220-89D8-9349D5D09575}" srcOrd="1" destOrd="0" presId="urn:microsoft.com/office/officeart/2005/8/layout/orgChart1"/>
    <dgm:cxn modelId="{5D6DFA0E-4BAE-4FEA-A373-BCC2D1FC9376}" type="presParOf" srcId="{FE12B098-0433-4220-89D8-9349D5D09575}" destId="{B20CE320-1D53-496E-921F-629E0FE2F63F}" srcOrd="0" destOrd="0" presId="urn:microsoft.com/office/officeart/2005/8/layout/orgChart1"/>
    <dgm:cxn modelId="{55AB1948-C702-4E2F-98EB-C9F67B997269}" type="presParOf" srcId="{B20CE320-1D53-496E-921F-629E0FE2F63F}" destId="{E3A255B9-48E6-4C5C-B8D9-4436957C93F3}" srcOrd="0" destOrd="0" presId="urn:microsoft.com/office/officeart/2005/8/layout/orgChart1"/>
    <dgm:cxn modelId="{EA2E8C3C-E9F1-4EBB-9025-8F797A468DD8}" type="presParOf" srcId="{B20CE320-1D53-496E-921F-629E0FE2F63F}" destId="{63B9DB1D-6AF4-4048-8B26-DBA50742144A}" srcOrd="1" destOrd="0" presId="urn:microsoft.com/office/officeart/2005/8/layout/orgChart1"/>
    <dgm:cxn modelId="{E32414C3-D7CF-463B-A902-DC0706318CFB}" type="presParOf" srcId="{FE12B098-0433-4220-89D8-9349D5D09575}" destId="{6B91D1BD-A8AA-4672-9988-5951F2E5ACAB}" srcOrd="1" destOrd="0" presId="urn:microsoft.com/office/officeart/2005/8/layout/orgChart1"/>
    <dgm:cxn modelId="{10E8A4DB-453C-4B90-AEF9-050E1F4C688F}" type="presParOf" srcId="{FE12B098-0433-4220-89D8-9349D5D09575}" destId="{F3A3C103-95AD-46D0-86A0-8A542DD93BBC}" srcOrd="2" destOrd="0" presId="urn:microsoft.com/office/officeart/2005/8/layout/orgChart1"/>
    <dgm:cxn modelId="{1C8A75D3-B7FC-40A0-BD3C-753865D473FA}" type="presParOf" srcId="{C16F0510-EFA0-471B-85E9-E562D7592BDA}" destId="{DF60FB37-9E7E-4C23-8C65-1EC3DE76E6FB}" srcOrd="2" destOrd="0" presId="urn:microsoft.com/office/officeart/2005/8/layout/orgChart1"/>
    <dgm:cxn modelId="{B9C07D87-C1B1-49EB-97A1-67FECAFC9997}" type="presParOf" srcId="{AD9984FC-7F99-4311-B933-77886C628D45}" destId="{0610E218-1ADF-475B-A07E-1A2C175A8DDC}" srcOrd="12" destOrd="0" presId="urn:microsoft.com/office/officeart/2005/8/layout/orgChart1"/>
    <dgm:cxn modelId="{A9B6660D-B672-4E24-BEF6-33803CB28277}" type="presParOf" srcId="{AD9984FC-7F99-4311-B933-77886C628D45}" destId="{51348303-9EC7-4FD5-935C-855AA6D4587E}" srcOrd="13" destOrd="0" presId="urn:microsoft.com/office/officeart/2005/8/layout/orgChart1"/>
    <dgm:cxn modelId="{9AF07987-82CD-4FE3-B320-1968F7CBA8E6}" type="presParOf" srcId="{51348303-9EC7-4FD5-935C-855AA6D4587E}" destId="{5F2E8035-9FBE-4EBC-BF46-B75A5C31B2A1}" srcOrd="0" destOrd="0" presId="urn:microsoft.com/office/officeart/2005/8/layout/orgChart1"/>
    <dgm:cxn modelId="{1FDFF9C9-77FD-466D-A00B-3BDE876E96E7}" type="presParOf" srcId="{5F2E8035-9FBE-4EBC-BF46-B75A5C31B2A1}" destId="{47676A2E-4168-429C-BE8C-A3D294DA0AD6}" srcOrd="0" destOrd="0" presId="urn:microsoft.com/office/officeart/2005/8/layout/orgChart1"/>
    <dgm:cxn modelId="{5DBE59B1-E595-4975-82C1-3AFE025F636E}" type="presParOf" srcId="{5F2E8035-9FBE-4EBC-BF46-B75A5C31B2A1}" destId="{4E1B5ECB-06FB-4B20-AD0F-42F8EAD40654}" srcOrd="1" destOrd="0" presId="urn:microsoft.com/office/officeart/2005/8/layout/orgChart1"/>
    <dgm:cxn modelId="{0C1C6141-0550-4EF3-A90C-F64912213A67}" type="presParOf" srcId="{51348303-9EC7-4FD5-935C-855AA6D4587E}" destId="{A07B81B5-B7EA-42D2-BFD0-40B77B7FFA3F}" srcOrd="1" destOrd="0" presId="urn:microsoft.com/office/officeart/2005/8/layout/orgChart1"/>
    <dgm:cxn modelId="{29378B15-36DF-4F07-8B01-8ADC9854F35C}" type="presParOf" srcId="{51348303-9EC7-4FD5-935C-855AA6D4587E}" destId="{76765329-91DB-48E7-9F7F-9DC236D27485}" srcOrd="2" destOrd="0" presId="urn:microsoft.com/office/officeart/2005/8/layout/orgChart1"/>
    <dgm:cxn modelId="{3B190847-1C3D-42C7-91D5-2878C9097DF0}" type="presParOf" srcId="{70B04D6F-66A9-4FDE-AB32-DAD3550F22D3}" destId="{1DA138FB-A875-48C8-ACB9-70F4BB275716}" srcOrd="2" destOrd="0" presId="urn:microsoft.com/office/officeart/2005/8/layout/orgChart1"/>
    <dgm:cxn modelId="{5501284B-52DC-474E-8F5D-55694C955200}" type="presParOf" srcId="{B1A764D9-D96A-4B53-B856-AEF52D45A3BA}" destId="{A5DB6C09-2874-4A40-B4CB-F0AD3E4490FB}"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FE97F07-166E-4646-8F3F-713BE98FF8D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6002B94-D09E-435C-A5F9-59D3BEF8FC71}">
      <dgm:prSet phldrT="[Text]"/>
      <dgm:spPr/>
      <dgm:t>
        <a:bodyPr/>
        <a:lstStyle/>
        <a:p>
          <a:r>
            <a:rPr lang="en-US" dirty="0"/>
            <a:t>Chief Education Officer</a:t>
          </a:r>
        </a:p>
      </dgm:t>
    </dgm:pt>
    <dgm:pt modelId="{187FCC7C-B3F3-47E0-9469-7908E98C35FA}" type="parTrans" cxnId="{C0C70E8D-9F04-472E-8162-02AD0AE082D1}">
      <dgm:prSet/>
      <dgm:spPr/>
      <dgm:t>
        <a:bodyPr/>
        <a:lstStyle/>
        <a:p>
          <a:endParaRPr lang="en-US"/>
        </a:p>
      </dgm:t>
    </dgm:pt>
    <dgm:pt modelId="{4E74CEF0-454A-4E7B-ADC8-EEA7E2B8954C}" type="sibTrans" cxnId="{C0C70E8D-9F04-472E-8162-02AD0AE082D1}">
      <dgm:prSet/>
      <dgm:spPr/>
      <dgm:t>
        <a:bodyPr/>
        <a:lstStyle/>
        <a:p>
          <a:endParaRPr lang="en-US"/>
        </a:p>
      </dgm:t>
    </dgm:pt>
    <dgm:pt modelId="{58135677-0A81-4361-B9C9-A005F11157E4}">
      <dgm:prSet phldrT="[Text]"/>
      <dgm:spPr/>
      <dgm:t>
        <a:bodyPr/>
        <a:lstStyle/>
        <a:p>
          <a:r>
            <a:rPr lang="en-US" dirty="0"/>
            <a:t>Director of Special Education</a:t>
          </a:r>
        </a:p>
      </dgm:t>
    </dgm:pt>
    <dgm:pt modelId="{BE5A2021-5D71-4F6D-9B0F-CEFD2D18CB1F}" type="parTrans" cxnId="{9C3FF7A2-C17A-4B26-B03D-79ADCDF62B6E}">
      <dgm:prSet/>
      <dgm:spPr/>
      <dgm:t>
        <a:bodyPr/>
        <a:lstStyle/>
        <a:p>
          <a:endParaRPr lang="en-US"/>
        </a:p>
      </dgm:t>
    </dgm:pt>
    <dgm:pt modelId="{F9112C6D-31DC-40AE-B9B0-55E3CD1C3285}" type="sibTrans" cxnId="{9C3FF7A2-C17A-4B26-B03D-79ADCDF62B6E}">
      <dgm:prSet/>
      <dgm:spPr/>
      <dgm:t>
        <a:bodyPr/>
        <a:lstStyle/>
        <a:p>
          <a:endParaRPr lang="en-US"/>
        </a:p>
      </dgm:t>
    </dgm:pt>
    <dgm:pt modelId="{1C5ED702-6D00-4A1D-9C7A-436C60845140}">
      <dgm:prSet>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dgm:spPr>
      <dgm:t>
        <a:bodyPr/>
        <a:lstStyle/>
        <a:p>
          <a:r>
            <a:rPr lang="en-US" dirty="0"/>
            <a:t>Associate Director of Clinical Services</a:t>
          </a:r>
        </a:p>
      </dgm:t>
    </dgm:pt>
    <dgm:pt modelId="{24DEFE67-353B-4E4C-BB64-48170CA6D166}" type="parTrans" cxnId="{1C2C928D-1B05-4B2B-88B8-AE91091DA785}">
      <dgm:prSet/>
      <dgm:spPr/>
      <dgm:t>
        <a:bodyPr/>
        <a:lstStyle/>
        <a:p>
          <a:endParaRPr lang="en-US"/>
        </a:p>
      </dgm:t>
    </dgm:pt>
    <dgm:pt modelId="{5BFD32FE-4E9A-4689-9FDC-2806610433E3}" type="sibTrans" cxnId="{1C2C928D-1B05-4B2B-88B8-AE91091DA785}">
      <dgm:prSet/>
      <dgm:spPr/>
      <dgm:t>
        <a:bodyPr/>
        <a:lstStyle/>
        <a:p>
          <a:endParaRPr lang="en-US"/>
        </a:p>
      </dgm:t>
    </dgm:pt>
    <dgm:pt modelId="{5C7BC345-B12F-49C2-87CA-37D3378B1C6C}">
      <dgm:prSet>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a:ln>
          <a:solidFill>
            <a:schemeClr val="accent1"/>
          </a:solidFill>
        </a:ln>
      </dgm:spPr>
      <dgm:t>
        <a:bodyPr/>
        <a:lstStyle/>
        <a:p>
          <a:r>
            <a:rPr lang="en-US" dirty="0"/>
            <a:t>Clinical Lead </a:t>
          </a:r>
        </a:p>
      </dgm:t>
    </dgm:pt>
    <dgm:pt modelId="{FE922007-D0EF-49DB-B0DC-7D5928EC21F1}" type="parTrans" cxnId="{EEA14464-F72D-4C91-967B-AFED44BC35CF}">
      <dgm:prSet/>
      <dgm:spPr/>
      <dgm:t>
        <a:bodyPr/>
        <a:lstStyle/>
        <a:p>
          <a:endParaRPr lang="en-US"/>
        </a:p>
      </dgm:t>
    </dgm:pt>
    <dgm:pt modelId="{FE337125-7638-4C49-96A3-C936F78FC012}" type="sibTrans" cxnId="{EEA14464-F72D-4C91-967B-AFED44BC35CF}">
      <dgm:prSet/>
      <dgm:spPr/>
      <dgm:t>
        <a:bodyPr/>
        <a:lstStyle/>
        <a:p>
          <a:endParaRPr lang="en-US"/>
        </a:p>
      </dgm:t>
    </dgm:pt>
    <dgm:pt modelId="{2CB46D88-A37E-4B7C-A4D0-EE01A2D063D2}">
      <dgm:prSet/>
      <dgm:spPr>
        <a:solidFill>
          <a:schemeClr val="accent4">
            <a:lumMod val="20000"/>
            <a:lumOff val="80000"/>
          </a:schemeClr>
        </a:solidFill>
        <a:ln>
          <a:solidFill>
            <a:schemeClr val="accent1"/>
          </a:solidFill>
        </a:ln>
      </dgm:spPr>
      <dgm:t>
        <a:bodyPr/>
        <a:lstStyle/>
        <a:p>
          <a:r>
            <a:rPr lang="en-US" dirty="0">
              <a:solidFill>
                <a:schemeClr val="accent1"/>
              </a:solidFill>
            </a:rPr>
            <a:t>BCBA</a:t>
          </a:r>
        </a:p>
      </dgm:t>
    </dgm:pt>
    <dgm:pt modelId="{1EDBB388-C7ED-4F47-AFA1-49017C082704}" type="parTrans" cxnId="{C1725EBB-D1B1-468A-AD9A-2115B140FC77}">
      <dgm:prSet/>
      <dgm:spPr/>
      <dgm:t>
        <a:bodyPr/>
        <a:lstStyle/>
        <a:p>
          <a:endParaRPr lang="en-US"/>
        </a:p>
      </dgm:t>
    </dgm:pt>
    <dgm:pt modelId="{4DCE9E63-C707-4027-A646-4107A6B9145D}" type="sibTrans" cxnId="{C1725EBB-D1B1-468A-AD9A-2115B140FC77}">
      <dgm:prSet/>
      <dgm:spPr/>
      <dgm:t>
        <a:bodyPr/>
        <a:lstStyle/>
        <a:p>
          <a:endParaRPr lang="en-US"/>
        </a:p>
      </dgm:t>
    </dgm:pt>
    <dgm:pt modelId="{607D7892-2569-4A31-BE0E-822482C37F3D}">
      <dgm:prSet/>
      <dgm:spPr>
        <a:solidFill>
          <a:schemeClr val="accent4">
            <a:lumMod val="20000"/>
            <a:lumOff val="80000"/>
          </a:schemeClr>
        </a:solidFill>
        <a:ln>
          <a:solidFill>
            <a:schemeClr val="accent1"/>
          </a:solidFill>
        </a:ln>
      </dgm:spPr>
      <dgm:t>
        <a:bodyPr/>
        <a:lstStyle/>
        <a:p>
          <a:r>
            <a:rPr lang="en-US" dirty="0">
              <a:solidFill>
                <a:schemeClr val="accent1"/>
              </a:solidFill>
            </a:rPr>
            <a:t>OT</a:t>
          </a:r>
        </a:p>
      </dgm:t>
    </dgm:pt>
    <dgm:pt modelId="{60819F5D-1058-4309-8330-F01818CD4500}" type="parTrans" cxnId="{544F285F-15BB-42E1-AA33-C48BECABC380}">
      <dgm:prSet/>
      <dgm:spPr/>
      <dgm:t>
        <a:bodyPr/>
        <a:lstStyle/>
        <a:p>
          <a:endParaRPr lang="en-US"/>
        </a:p>
      </dgm:t>
    </dgm:pt>
    <dgm:pt modelId="{CA0F073D-6DD8-4708-B741-F352F4696726}" type="sibTrans" cxnId="{544F285F-15BB-42E1-AA33-C48BECABC380}">
      <dgm:prSet/>
      <dgm:spPr/>
      <dgm:t>
        <a:bodyPr/>
        <a:lstStyle/>
        <a:p>
          <a:endParaRPr lang="en-US"/>
        </a:p>
      </dgm:t>
    </dgm:pt>
    <dgm:pt modelId="{401115A0-4D38-46A8-B3C5-D7E892CAAD5B}">
      <dgm:prSet/>
      <dgm:spPr>
        <a:solidFill>
          <a:schemeClr val="accent4">
            <a:lumMod val="20000"/>
            <a:lumOff val="80000"/>
          </a:schemeClr>
        </a:solidFill>
        <a:ln>
          <a:solidFill>
            <a:schemeClr val="accent1"/>
          </a:solidFill>
        </a:ln>
      </dgm:spPr>
      <dgm:t>
        <a:bodyPr/>
        <a:lstStyle/>
        <a:p>
          <a:r>
            <a:rPr lang="en-US" dirty="0">
              <a:solidFill>
                <a:schemeClr val="accent1"/>
              </a:solidFill>
            </a:rPr>
            <a:t>SLP/A</a:t>
          </a:r>
        </a:p>
      </dgm:t>
    </dgm:pt>
    <dgm:pt modelId="{627B2C3E-2E5E-42E2-9BF9-31A8B335D95D}" type="parTrans" cxnId="{46983940-783C-4773-B1D7-7DAE325A87D1}">
      <dgm:prSet/>
      <dgm:spPr/>
      <dgm:t>
        <a:bodyPr/>
        <a:lstStyle/>
        <a:p>
          <a:endParaRPr lang="en-US"/>
        </a:p>
      </dgm:t>
    </dgm:pt>
    <dgm:pt modelId="{055A4AB0-CFB1-4DA5-8322-C13C6A5A9BAA}" type="sibTrans" cxnId="{46983940-783C-4773-B1D7-7DAE325A87D1}">
      <dgm:prSet/>
      <dgm:spPr/>
      <dgm:t>
        <a:bodyPr/>
        <a:lstStyle/>
        <a:p>
          <a:endParaRPr lang="en-US"/>
        </a:p>
      </dgm:t>
    </dgm:pt>
    <dgm:pt modelId="{33A68A52-6159-4DAE-B33E-2FF719C49558}">
      <dgm:prSet/>
      <dgm:spPr>
        <a:solidFill>
          <a:schemeClr val="accent4">
            <a:lumMod val="20000"/>
            <a:lumOff val="80000"/>
          </a:schemeClr>
        </a:solidFill>
        <a:ln>
          <a:solidFill>
            <a:schemeClr val="accent1"/>
          </a:solidFill>
        </a:ln>
      </dgm:spPr>
      <dgm:t>
        <a:bodyPr/>
        <a:lstStyle/>
        <a:p>
          <a:r>
            <a:rPr lang="en-US" dirty="0">
              <a:solidFill>
                <a:schemeClr val="accent1"/>
              </a:solidFill>
            </a:rPr>
            <a:t>Counselor</a:t>
          </a:r>
        </a:p>
      </dgm:t>
    </dgm:pt>
    <dgm:pt modelId="{C040A107-5400-476F-9196-289C01A5ECAB}" type="parTrans" cxnId="{ED91C9E6-68A7-4E84-B609-A769E82AC1EA}">
      <dgm:prSet/>
      <dgm:spPr/>
      <dgm:t>
        <a:bodyPr/>
        <a:lstStyle/>
        <a:p>
          <a:endParaRPr lang="en-US"/>
        </a:p>
      </dgm:t>
    </dgm:pt>
    <dgm:pt modelId="{A385A739-0621-47DB-A26D-72555667FA51}" type="sibTrans" cxnId="{ED91C9E6-68A7-4E84-B609-A769E82AC1EA}">
      <dgm:prSet/>
      <dgm:spPr/>
      <dgm:t>
        <a:bodyPr/>
        <a:lstStyle/>
        <a:p>
          <a:endParaRPr lang="en-US"/>
        </a:p>
      </dgm:t>
    </dgm:pt>
    <dgm:pt modelId="{F44A1BDD-EE53-4FA6-A4D3-0B829201FF10}">
      <dgm:prSet>
        <dgm:style>
          <a:lnRef idx="2">
            <a:schemeClr val="accent1"/>
          </a:lnRef>
          <a:fillRef idx="1">
            <a:schemeClr val="lt1"/>
          </a:fillRef>
          <a:effectRef idx="0">
            <a:schemeClr val="accent1"/>
          </a:effectRef>
          <a:fontRef idx="minor">
            <a:schemeClr val="dk1"/>
          </a:fontRef>
        </dgm:style>
      </dgm:prSet>
      <dgm:spPr>
        <a:solidFill>
          <a:schemeClr val="accent4">
            <a:lumMod val="20000"/>
            <a:lumOff val="80000"/>
          </a:schemeClr>
        </a:solidFill>
        <a:ln>
          <a:solidFill>
            <a:schemeClr val="accent1"/>
          </a:solidFill>
        </a:ln>
      </dgm:spPr>
      <dgm:t>
        <a:bodyPr/>
        <a:lstStyle/>
        <a:p>
          <a:r>
            <a:rPr lang="en-US" dirty="0"/>
            <a:t>Clinical Lead</a:t>
          </a:r>
        </a:p>
      </dgm:t>
    </dgm:pt>
    <dgm:pt modelId="{FDC28D2D-E716-40BA-A482-2A6FA920FE7F}" type="parTrans" cxnId="{B33DA7CA-F10A-49A8-864B-DBD404E30DE4}">
      <dgm:prSet/>
      <dgm:spPr/>
      <dgm:t>
        <a:bodyPr/>
        <a:lstStyle/>
        <a:p>
          <a:endParaRPr lang="en-US"/>
        </a:p>
      </dgm:t>
    </dgm:pt>
    <dgm:pt modelId="{5BDC39C0-B40B-46DE-B8BD-2AABA2BC9874}" type="sibTrans" cxnId="{B33DA7CA-F10A-49A8-864B-DBD404E30DE4}">
      <dgm:prSet/>
      <dgm:spPr/>
      <dgm:t>
        <a:bodyPr/>
        <a:lstStyle/>
        <a:p>
          <a:endParaRPr lang="en-US"/>
        </a:p>
      </dgm:t>
    </dgm:pt>
    <dgm:pt modelId="{1A09EF79-2F34-4D48-9D45-887EDCC7FCA1}">
      <dgm:prSet/>
      <dgm:spPr>
        <a:solidFill>
          <a:schemeClr val="accent4">
            <a:lumMod val="20000"/>
            <a:lumOff val="80000"/>
          </a:schemeClr>
        </a:solidFill>
        <a:ln>
          <a:solidFill>
            <a:schemeClr val="accent1"/>
          </a:solidFill>
        </a:ln>
      </dgm:spPr>
      <dgm:t>
        <a:bodyPr/>
        <a:lstStyle/>
        <a:p>
          <a:r>
            <a:rPr lang="en-US" dirty="0">
              <a:solidFill>
                <a:schemeClr val="accent1"/>
              </a:solidFill>
            </a:rPr>
            <a:t>BCBA</a:t>
          </a:r>
        </a:p>
      </dgm:t>
    </dgm:pt>
    <dgm:pt modelId="{259E44B6-650C-464D-A315-0E0EC8C2618D}" type="parTrans" cxnId="{D0AFD86B-F17E-40CC-99ED-513EB5EE6F52}">
      <dgm:prSet/>
      <dgm:spPr/>
      <dgm:t>
        <a:bodyPr/>
        <a:lstStyle/>
        <a:p>
          <a:endParaRPr lang="en-US"/>
        </a:p>
      </dgm:t>
    </dgm:pt>
    <dgm:pt modelId="{EEF55274-BCF1-4AE1-B228-BF3DF89E7C75}" type="sibTrans" cxnId="{D0AFD86B-F17E-40CC-99ED-513EB5EE6F52}">
      <dgm:prSet/>
      <dgm:spPr/>
      <dgm:t>
        <a:bodyPr/>
        <a:lstStyle/>
        <a:p>
          <a:endParaRPr lang="en-US"/>
        </a:p>
      </dgm:t>
    </dgm:pt>
    <dgm:pt modelId="{26191A03-3627-4E26-AC2F-FFD548AF77D1}">
      <dgm:prSet/>
      <dgm:spPr>
        <a:solidFill>
          <a:schemeClr val="accent4">
            <a:lumMod val="20000"/>
            <a:lumOff val="80000"/>
          </a:schemeClr>
        </a:solidFill>
        <a:ln>
          <a:solidFill>
            <a:schemeClr val="accent1"/>
          </a:solidFill>
        </a:ln>
      </dgm:spPr>
      <dgm:t>
        <a:bodyPr/>
        <a:lstStyle/>
        <a:p>
          <a:r>
            <a:rPr lang="en-US" dirty="0">
              <a:solidFill>
                <a:schemeClr val="accent1"/>
              </a:solidFill>
            </a:rPr>
            <a:t>OT</a:t>
          </a:r>
        </a:p>
      </dgm:t>
    </dgm:pt>
    <dgm:pt modelId="{3070FEAF-E714-4809-86DA-9D9DC615893B}" type="parTrans" cxnId="{D7272790-42E8-4B4B-9F87-9EEE6EF70411}">
      <dgm:prSet/>
      <dgm:spPr/>
      <dgm:t>
        <a:bodyPr/>
        <a:lstStyle/>
        <a:p>
          <a:endParaRPr lang="en-US"/>
        </a:p>
      </dgm:t>
    </dgm:pt>
    <dgm:pt modelId="{9E01997C-7A21-4C58-B175-BD8FFF5F622A}" type="sibTrans" cxnId="{D7272790-42E8-4B4B-9F87-9EEE6EF70411}">
      <dgm:prSet/>
      <dgm:spPr/>
      <dgm:t>
        <a:bodyPr/>
        <a:lstStyle/>
        <a:p>
          <a:endParaRPr lang="en-US"/>
        </a:p>
      </dgm:t>
    </dgm:pt>
    <dgm:pt modelId="{11A47870-75E9-4C3F-892B-448E73141CBD}">
      <dgm:prSet/>
      <dgm:spPr>
        <a:solidFill>
          <a:schemeClr val="accent4">
            <a:lumMod val="20000"/>
            <a:lumOff val="80000"/>
          </a:schemeClr>
        </a:solidFill>
        <a:ln>
          <a:solidFill>
            <a:schemeClr val="accent1"/>
          </a:solidFill>
        </a:ln>
      </dgm:spPr>
      <dgm:t>
        <a:bodyPr/>
        <a:lstStyle/>
        <a:p>
          <a:r>
            <a:rPr lang="en-US" dirty="0">
              <a:solidFill>
                <a:schemeClr val="accent1"/>
              </a:solidFill>
            </a:rPr>
            <a:t>SLP/A</a:t>
          </a:r>
        </a:p>
      </dgm:t>
    </dgm:pt>
    <dgm:pt modelId="{7DB54FCA-DCE7-4972-AF17-E6160395D967}" type="parTrans" cxnId="{46A177F9-A294-4330-AB7C-FA9CDA8AFAC8}">
      <dgm:prSet/>
      <dgm:spPr/>
      <dgm:t>
        <a:bodyPr/>
        <a:lstStyle/>
        <a:p>
          <a:endParaRPr lang="en-US"/>
        </a:p>
      </dgm:t>
    </dgm:pt>
    <dgm:pt modelId="{0F712D2E-4D46-4125-99A2-2C01A556A9D4}" type="sibTrans" cxnId="{46A177F9-A294-4330-AB7C-FA9CDA8AFAC8}">
      <dgm:prSet/>
      <dgm:spPr/>
      <dgm:t>
        <a:bodyPr/>
        <a:lstStyle/>
        <a:p>
          <a:endParaRPr lang="en-US"/>
        </a:p>
      </dgm:t>
    </dgm:pt>
    <dgm:pt modelId="{35276BF8-A74A-468D-873C-DBC02263A51E}">
      <dgm:prSet/>
      <dgm:spPr>
        <a:solidFill>
          <a:schemeClr val="accent4">
            <a:lumMod val="20000"/>
            <a:lumOff val="80000"/>
          </a:schemeClr>
        </a:solidFill>
        <a:ln>
          <a:solidFill>
            <a:schemeClr val="accent1"/>
          </a:solidFill>
        </a:ln>
      </dgm:spPr>
      <dgm:t>
        <a:bodyPr/>
        <a:lstStyle/>
        <a:p>
          <a:r>
            <a:rPr lang="en-US" dirty="0">
              <a:solidFill>
                <a:schemeClr val="accent1"/>
              </a:solidFill>
            </a:rPr>
            <a:t>Counselor</a:t>
          </a:r>
        </a:p>
      </dgm:t>
    </dgm:pt>
    <dgm:pt modelId="{5357A782-4AA4-4718-8F33-A7151D18ACA4}" type="parTrans" cxnId="{333EF22B-1426-4D87-A095-0FA1569ADF71}">
      <dgm:prSet/>
      <dgm:spPr/>
      <dgm:t>
        <a:bodyPr/>
        <a:lstStyle/>
        <a:p>
          <a:endParaRPr lang="en-US"/>
        </a:p>
      </dgm:t>
    </dgm:pt>
    <dgm:pt modelId="{4B62BB13-12CE-42C0-9C86-A45EF725D9E2}" type="sibTrans" cxnId="{333EF22B-1426-4D87-A095-0FA1569ADF71}">
      <dgm:prSet/>
      <dgm:spPr/>
      <dgm:t>
        <a:bodyPr/>
        <a:lstStyle/>
        <a:p>
          <a:endParaRPr lang="en-US"/>
        </a:p>
      </dgm:t>
    </dgm:pt>
    <dgm:pt modelId="{7A986BF1-5D42-42AC-97C9-61508A15C7D6}">
      <dgm:prSet/>
      <dgm:spPr/>
      <dgm:t>
        <a:bodyPr/>
        <a:lstStyle/>
        <a:p>
          <a:r>
            <a:rPr lang="en-US" dirty="0"/>
            <a:t>Associate Director of Educational Operations</a:t>
          </a:r>
        </a:p>
      </dgm:t>
    </dgm:pt>
    <dgm:pt modelId="{D64F388A-C0B3-409F-A358-94DADAAB1854}" type="parTrans" cxnId="{CEB34D01-D043-462C-8604-28A189E1BC2A}">
      <dgm:prSet/>
      <dgm:spPr/>
      <dgm:t>
        <a:bodyPr/>
        <a:lstStyle/>
        <a:p>
          <a:endParaRPr lang="en-US"/>
        </a:p>
      </dgm:t>
    </dgm:pt>
    <dgm:pt modelId="{A7B8DEBD-11CB-40DF-B424-6B52C1C66245}" type="sibTrans" cxnId="{CEB34D01-D043-462C-8604-28A189E1BC2A}">
      <dgm:prSet/>
      <dgm:spPr/>
      <dgm:t>
        <a:bodyPr/>
        <a:lstStyle/>
        <a:p>
          <a:endParaRPr lang="en-US"/>
        </a:p>
      </dgm:t>
    </dgm:pt>
    <dgm:pt modelId="{2B93744D-7D5D-4AAA-A9D4-065B183D1508}">
      <dgm:prSet/>
      <dgm:spPr/>
      <dgm:t>
        <a:bodyPr/>
        <a:lstStyle/>
        <a:p>
          <a:r>
            <a:rPr lang="en-US" dirty="0"/>
            <a:t>Associate Director of Education </a:t>
          </a:r>
        </a:p>
        <a:p>
          <a:r>
            <a:rPr lang="en-US" dirty="0"/>
            <a:t>Cohort A</a:t>
          </a:r>
        </a:p>
      </dgm:t>
    </dgm:pt>
    <dgm:pt modelId="{4F12B914-2A21-4B9A-BCCA-0B4E9CFC9DBE}" type="parTrans" cxnId="{85FE2315-B69A-4ADF-AFCF-1B9EA04444BF}">
      <dgm:prSet/>
      <dgm:spPr/>
      <dgm:t>
        <a:bodyPr/>
        <a:lstStyle/>
        <a:p>
          <a:endParaRPr lang="en-US"/>
        </a:p>
      </dgm:t>
    </dgm:pt>
    <dgm:pt modelId="{C5C61659-B650-49D2-92E0-0CB04718A199}" type="sibTrans" cxnId="{85FE2315-B69A-4ADF-AFCF-1B9EA04444BF}">
      <dgm:prSet/>
      <dgm:spPr/>
      <dgm:t>
        <a:bodyPr/>
        <a:lstStyle/>
        <a:p>
          <a:endParaRPr lang="en-US"/>
        </a:p>
      </dgm:t>
    </dgm:pt>
    <dgm:pt modelId="{1C005291-6471-4DE9-8ACA-188D6EA50277}">
      <dgm:prSet/>
      <dgm:spPr/>
      <dgm:t>
        <a:bodyPr/>
        <a:lstStyle/>
        <a:p>
          <a:r>
            <a:rPr lang="en-US" dirty="0"/>
            <a:t>Associate Director of Education</a:t>
          </a:r>
        </a:p>
        <a:p>
          <a:r>
            <a:rPr lang="en-US" dirty="0"/>
            <a:t>Cohort B</a:t>
          </a:r>
        </a:p>
      </dgm:t>
    </dgm:pt>
    <dgm:pt modelId="{536DBBFB-BD13-402F-8846-0A565BCC62DE}" type="parTrans" cxnId="{6A82BD8F-3CF9-42D2-A59D-DA1F1FCD6DAA}">
      <dgm:prSet/>
      <dgm:spPr/>
      <dgm:t>
        <a:bodyPr/>
        <a:lstStyle/>
        <a:p>
          <a:endParaRPr lang="en-US"/>
        </a:p>
      </dgm:t>
    </dgm:pt>
    <dgm:pt modelId="{2E6787E8-694E-4457-B054-9850889B21DA}" type="sibTrans" cxnId="{6A82BD8F-3CF9-42D2-A59D-DA1F1FCD6DAA}">
      <dgm:prSet/>
      <dgm:spPr/>
      <dgm:t>
        <a:bodyPr/>
        <a:lstStyle/>
        <a:p>
          <a:endParaRPr lang="en-US"/>
        </a:p>
      </dgm:t>
    </dgm:pt>
    <dgm:pt modelId="{DAAAF051-89F7-4FE1-9EEC-976056B64CFB}">
      <dgm:prSet/>
      <dgm:spPr/>
      <dgm:t>
        <a:bodyPr/>
        <a:lstStyle/>
        <a:p>
          <a:r>
            <a:rPr lang="en-US" dirty="0"/>
            <a:t>Manager of APE</a:t>
          </a:r>
        </a:p>
      </dgm:t>
    </dgm:pt>
    <dgm:pt modelId="{5D9A5639-78F5-48AE-945F-B3918B713637}" type="parTrans" cxnId="{6016477E-9758-4E12-8BE3-BC4EBD64279D}">
      <dgm:prSet/>
      <dgm:spPr/>
      <dgm:t>
        <a:bodyPr/>
        <a:lstStyle/>
        <a:p>
          <a:endParaRPr lang="en-US"/>
        </a:p>
      </dgm:t>
    </dgm:pt>
    <dgm:pt modelId="{2E8C4EF5-00F0-49CF-AD42-CFB449D0DF6F}" type="sibTrans" cxnId="{6016477E-9758-4E12-8BE3-BC4EBD64279D}">
      <dgm:prSet/>
      <dgm:spPr/>
      <dgm:t>
        <a:bodyPr/>
        <a:lstStyle/>
        <a:p>
          <a:endParaRPr lang="en-US"/>
        </a:p>
      </dgm:t>
    </dgm:pt>
    <dgm:pt modelId="{3913C865-6E9D-4F48-B0AC-DB66360AB161}">
      <dgm:prSet/>
      <dgm:spPr/>
      <dgm:t>
        <a:bodyPr/>
        <a:lstStyle/>
        <a:p>
          <a:r>
            <a:rPr lang="en-US" dirty="0"/>
            <a:t>Manager of Vocational Services</a:t>
          </a:r>
        </a:p>
      </dgm:t>
    </dgm:pt>
    <dgm:pt modelId="{B0602058-1197-4BE6-9C76-72F957B406C1}" type="parTrans" cxnId="{7C9295F3-C909-46FA-BA54-90B5D8A2D7F2}">
      <dgm:prSet/>
      <dgm:spPr/>
      <dgm:t>
        <a:bodyPr/>
        <a:lstStyle/>
        <a:p>
          <a:endParaRPr lang="en-US"/>
        </a:p>
      </dgm:t>
    </dgm:pt>
    <dgm:pt modelId="{DED608E9-13DC-40D7-918F-9A3A07B0ACFB}" type="sibTrans" cxnId="{7C9295F3-C909-46FA-BA54-90B5D8A2D7F2}">
      <dgm:prSet/>
      <dgm:spPr/>
      <dgm:t>
        <a:bodyPr/>
        <a:lstStyle/>
        <a:p>
          <a:endParaRPr lang="en-US"/>
        </a:p>
      </dgm:t>
    </dgm:pt>
    <dgm:pt modelId="{131D1E18-57E0-4AD3-A823-77CC537F38DA}">
      <dgm:prSet/>
      <dgm:spPr/>
      <dgm:t>
        <a:bodyPr/>
        <a:lstStyle/>
        <a:p>
          <a:r>
            <a:rPr lang="en-US" dirty="0"/>
            <a:t>Lead TA</a:t>
          </a:r>
        </a:p>
      </dgm:t>
    </dgm:pt>
    <dgm:pt modelId="{B2F31091-45D7-4AB9-8F57-65A84F08A2B5}" type="parTrans" cxnId="{5C8A90F3-931E-410B-938E-7AF6131452A7}">
      <dgm:prSet/>
      <dgm:spPr/>
      <dgm:t>
        <a:bodyPr/>
        <a:lstStyle/>
        <a:p>
          <a:endParaRPr lang="en-US"/>
        </a:p>
      </dgm:t>
    </dgm:pt>
    <dgm:pt modelId="{D639F1C7-BE18-4962-A718-D94A8E346F60}" type="sibTrans" cxnId="{5C8A90F3-931E-410B-938E-7AF6131452A7}">
      <dgm:prSet/>
      <dgm:spPr/>
      <dgm:t>
        <a:bodyPr/>
        <a:lstStyle/>
        <a:p>
          <a:endParaRPr lang="en-US"/>
        </a:p>
      </dgm:t>
    </dgm:pt>
    <dgm:pt modelId="{3B1ABA91-4603-421E-AB7D-296675AE7AB2}">
      <dgm:prSet/>
      <dgm:spPr/>
      <dgm:t>
        <a:bodyPr/>
        <a:lstStyle/>
        <a:p>
          <a:r>
            <a:rPr lang="en-US" dirty="0"/>
            <a:t>Associate Director of Education</a:t>
          </a:r>
        </a:p>
        <a:p>
          <a:r>
            <a:rPr lang="en-US" dirty="0"/>
            <a:t>Cohort C</a:t>
          </a:r>
        </a:p>
      </dgm:t>
    </dgm:pt>
    <dgm:pt modelId="{9577CB04-FC7E-4D72-8F7A-6DFC3F0F0728}" type="parTrans" cxnId="{D8336E17-1743-4EEE-97B5-85176EAF6B59}">
      <dgm:prSet/>
      <dgm:spPr/>
      <dgm:t>
        <a:bodyPr/>
        <a:lstStyle/>
        <a:p>
          <a:endParaRPr lang="en-US"/>
        </a:p>
      </dgm:t>
    </dgm:pt>
    <dgm:pt modelId="{05F1A9D6-528A-4C97-B9A7-D1390CCEE2C5}" type="sibTrans" cxnId="{D8336E17-1743-4EEE-97B5-85176EAF6B59}">
      <dgm:prSet/>
      <dgm:spPr/>
      <dgm:t>
        <a:bodyPr/>
        <a:lstStyle/>
        <a:p>
          <a:endParaRPr lang="en-US"/>
        </a:p>
      </dgm:t>
    </dgm:pt>
    <dgm:pt modelId="{37708ABD-884F-48D5-8289-3217E85F5A01}">
      <dgm:prSet/>
      <dgm:spPr/>
      <dgm:t>
        <a:bodyPr/>
        <a:lstStyle/>
        <a:p>
          <a:r>
            <a:rPr lang="en-US" dirty="0"/>
            <a:t>Classroom Teachers</a:t>
          </a:r>
        </a:p>
      </dgm:t>
    </dgm:pt>
    <dgm:pt modelId="{27D14F18-8FB9-4BF4-9A2A-AFDDADBB4FAF}" type="parTrans" cxnId="{B0303393-E3DB-4301-BA3B-AA5088F1B4A3}">
      <dgm:prSet/>
      <dgm:spPr/>
      <dgm:t>
        <a:bodyPr/>
        <a:lstStyle/>
        <a:p>
          <a:endParaRPr lang="en-US"/>
        </a:p>
      </dgm:t>
    </dgm:pt>
    <dgm:pt modelId="{24D5740F-2A35-42CD-87AF-EB507AB17941}" type="sibTrans" cxnId="{B0303393-E3DB-4301-BA3B-AA5088F1B4A3}">
      <dgm:prSet/>
      <dgm:spPr/>
      <dgm:t>
        <a:bodyPr/>
        <a:lstStyle/>
        <a:p>
          <a:endParaRPr lang="en-US"/>
        </a:p>
      </dgm:t>
    </dgm:pt>
    <dgm:pt modelId="{1CBBF08E-D98E-492B-8D3F-ADAF3A9C9767}">
      <dgm:prSet/>
      <dgm:spPr/>
      <dgm:t>
        <a:bodyPr/>
        <a:lstStyle/>
        <a:p>
          <a:r>
            <a:rPr lang="en-US" dirty="0"/>
            <a:t>Classroom Teachers</a:t>
          </a:r>
        </a:p>
      </dgm:t>
    </dgm:pt>
    <dgm:pt modelId="{BC58642D-7B86-4D0C-967B-3220B680449E}" type="parTrans" cxnId="{1F2A02B6-6CFF-4011-B253-A5C9F2AD6BF1}">
      <dgm:prSet/>
      <dgm:spPr/>
      <dgm:t>
        <a:bodyPr/>
        <a:lstStyle/>
        <a:p>
          <a:endParaRPr lang="en-US"/>
        </a:p>
      </dgm:t>
    </dgm:pt>
    <dgm:pt modelId="{5F0A7ECC-496A-4940-AE81-437872FA0C82}" type="sibTrans" cxnId="{1F2A02B6-6CFF-4011-B253-A5C9F2AD6BF1}">
      <dgm:prSet/>
      <dgm:spPr/>
      <dgm:t>
        <a:bodyPr/>
        <a:lstStyle/>
        <a:p>
          <a:endParaRPr lang="en-US"/>
        </a:p>
      </dgm:t>
    </dgm:pt>
    <dgm:pt modelId="{190D8B1D-8EA9-44B7-BD31-0DCCDFA9ADC2}">
      <dgm:prSet/>
      <dgm:spPr/>
      <dgm:t>
        <a:bodyPr/>
        <a:lstStyle/>
        <a:p>
          <a:r>
            <a:rPr lang="en-US" dirty="0"/>
            <a:t>Classroom Teachers </a:t>
          </a:r>
        </a:p>
      </dgm:t>
    </dgm:pt>
    <dgm:pt modelId="{564173C8-0359-4831-9752-D8E5CC91383A}" type="parTrans" cxnId="{3E3FF9C0-8139-43E3-88C4-556B4D02A10A}">
      <dgm:prSet/>
      <dgm:spPr/>
      <dgm:t>
        <a:bodyPr/>
        <a:lstStyle/>
        <a:p>
          <a:endParaRPr lang="en-US"/>
        </a:p>
      </dgm:t>
    </dgm:pt>
    <dgm:pt modelId="{739CF3B6-F9E6-4678-AA4D-1C3E75CCBC47}" type="sibTrans" cxnId="{3E3FF9C0-8139-43E3-88C4-556B4D02A10A}">
      <dgm:prSet/>
      <dgm:spPr/>
      <dgm:t>
        <a:bodyPr/>
        <a:lstStyle/>
        <a:p>
          <a:endParaRPr lang="en-US"/>
        </a:p>
      </dgm:t>
    </dgm:pt>
    <dgm:pt modelId="{2A761EA2-E205-4836-81B0-F019EC2C64EC}">
      <dgm:prSet/>
      <dgm:spPr/>
      <dgm:t>
        <a:bodyPr/>
        <a:lstStyle/>
        <a:p>
          <a:r>
            <a:rPr lang="en-US" dirty="0"/>
            <a:t>APE Teachers</a:t>
          </a:r>
        </a:p>
      </dgm:t>
    </dgm:pt>
    <dgm:pt modelId="{1D791ABE-2EA9-46CA-9A1A-D7360B8B3BD4}" type="parTrans" cxnId="{5B76EBC3-C2BC-4AA5-BBC7-2A69FBC4EAE1}">
      <dgm:prSet/>
      <dgm:spPr/>
      <dgm:t>
        <a:bodyPr/>
        <a:lstStyle/>
        <a:p>
          <a:endParaRPr lang="en-US"/>
        </a:p>
      </dgm:t>
    </dgm:pt>
    <dgm:pt modelId="{87216CE2-785D-4D84-9585-2CA29B422619}" type="sibTrans" cxnId="{5B76EBC3-C2BC-4AA5-BBC7-2A69FBC4EAE1}">
      <dgm:prSet/>
      <dgm:spPr/>
      <dgm:t>
        <a:bodyPr/>
        <a:lstStyle/>
        <a:p>
          <a:endParaRPr lang="en-US"/>
        </a:p>
      </dgm:t>
    </dgm:pt>
    <dgm:pt modelId="{5707F1AD-8FAD-46DF-8294-64D7CA69B7FA}">
      <dgm:prSet/>
      <dgm:spPr/>
      <dgm:t>
        <a:bodyPr/>
        <a:lstStyle/>
        <a:p>
          <a:r>
            <a:rPr lang="en-US" dirty="0"/>
            <a:t>Rec Therapists</a:t>
          </a:r>
        </a:p>
        <a:p>
          <a:r>
            <a:rPr lang="en-US" dirty="0"/>
            <a:t>Rec Assistants</a:t>
          </a:r>
        </a:p>
      </dgm:t>
    </dgm:pt>
    <dgm:pt modelId="{98426BE6-0A08-4251-864A-12910A54113B}" type="parTrans" cxnId="{53BB292C-E3C8-4FA8-BB23-41597A331552}">
      <dgm:prSet/>
      <dgm:spPr/>
      <dgm:t>
        <a:bodyPr/>
        <a:lstStyle/>
        <a:p>
          <a:endParaRPr lang="en-US"/>
        </a:p>
      </dgm:t>
    </dgm:pt>
    <dgm:pt modelId="{E66F2CF9-038B-4BA8-8B75-AA2B7393DC53}" type="sibTrans" cxnId="{53BB292C-E3C8-4FA8-BB23-41597A331552}">
      <dgm:prSet/>
      <dgm:spPr/>
      <dgm:t>
        <a:bodyPr/>
        <a:lstStyle/>
        <a:p>
          <a:endParaRPr lang="en-US"/>
        </a:p>
      </dgm:t>
    </dgm:pt>
    <dgm:pt modelId="{79DD03DD-E312-4717-91AB-E8E535E6A792}">
      <dgm:prSet/>
      <dgm:spPr/>
      <dgm:t>
        <a:bodyPr/>
        <a:lstStyle/>
        <a:p>
          <a:r>
            <a:rPr lang="en-US" dirty="0"/>
            <a:t>Afterschool Program</a:t>
          </a:r>
        </a:p>
      </dgm:t>
    </dgm:pt>
    <dgm:pt modelId="{FC9BACEA-B48C-4D8E-888D-3E2C8D98149A}" type="parTrans" cxnId="{0F7A1F27-7202-417D-8C04-6041941135ED}">
      <dgm:prSet/>
      <dgm:spPr/>
      <dgm:t>
        <a:bodyPr/>
        <a:lstStyle/>
        <a:p>
          <a:endParaRPr lang="en-US"/>
        </a:p>
      </dgm:t>
    </dgm:pt>
    <dgm:pt modelId="{3F0C95B8-512D-46E5-9C9E-FC0E94D022A4}" type="sibTrans" cxnId="{0F7A1F27-7202-417D-8C04-6041941135ED}">
      <dgm:prSet/>
      <dgm:spPr/>
      <dgm:t>
        <a:bodyPr/>
        <a:lstStyle/>
        <a:p>
          <a:endParaRPr lang="en-US"/>
        </a:p>
      </dgm:t>
    </dgm:pt>
    <dgm:pt modelId="{D3411042-B57A-41A4-88E8-0D4DF0DF110E}">
      <dgm:prSet/>
      <dgm:spPr/>
      <dgm:t>
        <a:bodyPr/>
        <a:lstStyle/>
        <a:p>
          <a:r>
            <a:rPr lang="en-US" dirty="0"/>
            <a:t>Vocational Teacher</a:t>
          </a:r>
        </a:p>
      </dgm:t>
    </dgm:pt>
    <dgm:pt modelId="{2109D80E-F23A-4E1A-BDBB-48215AF2024E}" type="parTrans" cxnId="{93AA2185-BE6A-4A68-823D-D710DB6D0EA1}">
      <dgm:prSet/>
      <dgm:spPr/>
      <dgm:t>
        <a:bodyPr/>
        <a:lstStyle/>
        <a:p>
          <a:endParaRPr lang="en-US"/>
        </a:p>
      </dgm:t>
    </dgm:pt>
    <dgm:pt modelId="{44187CF1-681D-4776-BFB5-C40CBDC7CEB2}" type="sibTrans" cxnId="{93AA2185-BE6A-4A68-823D-D710DB6D0EA1}">
      <dgm:prSet/>
      <dgm:spPr/>
      <dgm:t>
        <a:bodyPr/>
        <a:lstStyle/>
        <a:p>
          <a:endParaRPr lang="en-US"/>
        </a:p>
      </dgm:t>
    </dgm:pt>
    <dgm:pt modelId="{85E5C545-5700-4BFF-96E3-067421E43709}">
      <dgm:prSet/>
      <dgm:spPr/>
      <dgm:t>
        <a:bodyPr/>
        <a:lstStyle/>
        <a:p>
          <a:r>
            <a:rPr lang="en-US" dirty="0"/>
            <a:t>Contracted </a:t>
          </a:r>
        </a:p>
        <a:p>
          <a:r>
            <a:rPr lang="en-US" dirty="0"/>
            <a:t>Services</a:t>
          </a:r>
        </a:p>
      </dgm:t>
    </dgm:pt>
    <dgm:pt modelId="{A238298E-3EEE-4A34-B98A-E7332B4FFAD1}" type="parTrans" cxnId="{14122B04-B1D3-4129-8001-4DDBBF30B836}">
      <dgm:prSet/>
      <dgm:spPr/>
      <dgm:t>
        <a:bodyPr/>
        <a:lstStyle/>
        <a:p>
          <a:endParaRPr lang="en-US"/>
        </a:p>
      </dgm:t>
    </dgm:pt>
    <dgm:pt modelId="{43235AB0-1A99-433B-A7BB-5592F012536A}" type="sibTrans" cxnId="{14122B04-B1D3-4129-8001-4DDBBF30B836}">
      <dgm:prSet/>
      <dgm:spPr/>
      <dgm:t>
        <a:bodyPr/>
        <a:lstStyle/>
        <a:p>
          <a:endParaRPr lang="en-US"/>
        </a:p>
      </dgm:t>
    </dgm:pt>
    <dgm:pt modelId="{FDF23FE7-99D6-46CC-9612-B3F15A6D8E04}">
      <dgm:prSet/>
      <dgm:spPr/>
      <dgm:t>
        <a:bodyPr/>
        <a:lstStyle/>
        <a:p>
          <a:r>
            <a:rPr lang="en-US" dirty="0"/>
            <a:t>Job Coaches</a:t>
          </a:r>
        </a:p>
      </dgm:t>
    </dgm:pt>
    <dgm:pt modelId="{C1BDA1EF-5DA5-4AAD-AAB1-9B0DFFC51B57}" type="parTrans" cxnId="{B2C3E9C0-CFFB-4861-BAE7-F5297C4C76DE}">
      <dgm:prSet/>
      <dgm:spPr/>
      <dgm:t>
        <a:bodyPr/>
        <a:lstStyle/>
        <a:p>
          <a:endParaRPr lang="en-US"/>
        </a:p>
      </dgm:t>
    </dgm:pt>
    <dgm:pt modelId="{FB96C7EF-FAE9-4861-9AE6-6B1BC1BD03D8}" type="sibTrans" cxnId="{B2C3E9C0-CFFB-4861-BAE7-F5297C4C76DE}">
      <dgm:prSet/>
      <dgm:spPr/>
      <dgm:t>
        <a:bodyPr/>
        <a:lstStyle/>
        <a:p>
          <a:endParaRPr lang="en-US"/>
        </a:p>
      </dgm:t>
    </dgm:pt>
    <dgm:pt modelId="{6889CB35-E56A-4065-A9B0-D7FEB6DC920C}">
      <dgm:prSet/>
      <dgm:spPr/>
      <dgm:t>
        <a:bodyPr/>
        <a:lstStyle/>
        <a:p>
          <a:r>
            <a:rPr lang="en-US" dirty="0"/>
            <a:t>Internal/External Job Sites</a:t>
          </a:r>
        </a:p>
      </dgm:t>
    </dgm:pt>
    <dgm:pt modelId="{F1D03EB0-F3FF-4756-ACA2-F642EFB57A45}" type="parTrans" cxnId="{D2202081-3E30-4CE3-8102-9018A5168F50}">
      <dgm:prSet/>
      <dgm:spPr/>
      <dgm:t>
        <a:bodyPr/>
        <a:lstStyle/>
        <a:p>
          <a:endParaRPr lang="en-US"/>
        </a:p>
      </dgm:t>
    </dgm:pt>
    <dgm:pt modelId="{3344CB1D-7D17-41B3-96A7-1DDE6DFBCCA6}" type="sibTrans" cxnId="{D2202081-3E30-4CE3-8102-9018A5168F50}">
      <dgm:prSet/>
      <dgm:spPr/>
      <dgm:t>
        <a:bodyPr/>
        <a:lstStyle/>
        <a:p>
          <a:endParaRPr lang="en-US"/>
        </a:p>
      </dgm:t>
    </dgm:pt>
    <dgm:pt modelId="{21DFCF00-BA3A-442D-A302-E8B9B273D4D7}" type="pres">
      <dgm:prSet presAssocID="{0FE97F07-166E-4646-8F3F-713BE98FF8D3}" presName="hierChild1" presStyleCnt="0">
        <dgm:presLayoutVars>
          <dgm:orgChart val="1"/>
          <dgm:chPref val="1"/>
          <dgm:dir/>
          <dgm:animOne val="branch"/>
          <dgm:animLvl val="lvl"/>
          <dgm:resizeHandles/>
        </dgm:presLayoutVars>
      </dgm:prSet>
      <dgm:spPr/>
    </dgm:pt>
    <dgm:pt modelId="{B1A764D9-D96A-4B53-B856-AEF52D45A3BA}" type="pres">
      <dgm:prSet presAssocID="{06002B94-D09E-435C-A5F9-59D3BEF8FC71}" presName="hierRoot1" presStyleCnt="0">
        <dgm:presLayoutVars>
          <dgm:hierBranch val="init"/>
        </dgm:presLayoutVars>
      </dgm:prSet>
      <dgm:spPr/>
    </dgm:pt>
    <dgm:pt modelId="{B4B8F1AC-A107-4950-B735-168B3D8CC895}" type="pres">
      <dgm:prSet presAssocID="{06002B94-D09E-435C-A5F9-59D3BEF8FC71}" presName="rootComposite1" presStyleCnt="0"/>
      <dgm:spPr/>
    </dgm:pt>
    <dgm:pt modelId="{B38EFBAE-F24D-4607-8056-41FD753C7A0D}" type="pres">
      <dgm:prSet presAssocID="{06002B94-D09E-435C-A5F9-59D3BEF8FC71}" presName="rootText1" presStyleLbl="node0" presStyleIdx="0" presStyleCnt="1" custLinFactNeighborX="-4575" custLinFactNeighborY="2337">
        <dgm:presLayoutVars>
          <dgm:chPref val="3"/>
        </dgm:presLayoutVars>
      </dgm:prSet>
      <dgm:spPr/>
    </dgm:pt>
    <dgm:pt modelId="{9F3F7C96-9EB6-4B0C-996D-E8AFB782C371}" type="pres">
      <dgm:prSet presAssocID="{06002B94-D09E-435C-A5F9-59D3BEF8FC71}" presName="rootConnector1" presStyleLbl="node1" presStyleIdx="0" presStyleCnt="0"/>
      <dgm:spPr/>
    </dgm:pt>
    <dgm:pt modelId="{739FC934-DA7E-4472-AEA5-FF44FCFB5313}" type="pres">
      <dgm:prSet presAssocID="{06002B94-D09E-435C-A5F9-59D3BEF8FC71}" presName="hierChild2" presStyleCnt="0"/>
      <dgm:spPr/>
    </dgm:pt>
    <dgm:pt modelId="{62745C3C-8409-4F96-ACA1-A05ED7E3E9BC}" type="pres">
      <dgm:prSet presAssocID="{BE5A2021-5D71-4F6D-9B0F-CEFD2D18CB1F}" presName="Name37" presStyleLbl="parChTrans1D2" presStyleIdx="0" presStyleCnt="1"/>
      <dgm:spPr/>
    </dgm:pt>
    <dgm:pt modelId="{70B04D6F-66A9-4FDE-AB32-DAD3550F22D3}" type="pres">
      <dgm:prSet presAssocID="{58135677-0A81-4361-B9C9-A005F11157E4}" presName="hierRoot2" presStyleCnt="0">
        <dgm:presLayoutVars>
          <dgm:hierBranch/>
        </dgm:presLayoutVars>
      </dgm:prSet>
      <dgm:spPr/>
    </dgm:pt>
    <dgm:pt modelId="{FE44CBEE-EA0D-4D1C-B742-153A38EF3A6D}" type="pres">
      <dgm:prSet presAssocID="{58135677-0A81-4361-B9C9-A005F11157E4}" presName="rootComposite" presStyleCnt="0"/>
      <dgm:spPr/>
    </dgm:pt>
    <dgm:pt modelId="{5C13A3CF-5101-4405-863A-A3E2CCBB22AB}" type="pres">
      <dgm:prSet presAssocID="{58135677-0A81-4361-B9C9-A005F11157E4}" presName="rootText" presStyleLbl="node2" presStyleIdx="0" presStyleCnt="1" custLinFactNeighborX="-5035">
        <dgm:presLayoutVars>
          <dgm:chPref val="3"/>
        </dgm:presLayoutVars>
      </dgm:prSet>
      <dgm:spPr/>
    </dgm:pt>
    <dgm:pt modelId="{9A1EC101-B2CE-405F-9790-44F992781CFD}" type="pres">
      <dgm:prSet presAssocID="{58135677-0A81-4361-B9C9-A005F11157E4}" presName="rootConnector" presStyleLbl="node2" presStyleIdx="0" presStyleCnt="1"/>
      <dgm:spPr/>
    </dgm:pt>
    <dgm:pt modelId="{AD9984FC-7F99-4311-B933-77886C628D45}" type="pres">
      <dgm:prSet presAssocID="{58135677-0A81-4361-B9C9-A005F11157E4}" presName="hierChild4" presStyleCnt="0"/>
      <dgm:spPr/>
    </dgm:pt>
    <dgm:pt modelId="{00ED9990-A0CC-4608-9427-1ECE9162B7E7}" type="pres">
      <dgm:prSet presAssocID="{24DEFE67-353B-4E4C-BB64-48170CA6D166}" presName="Name35" presStyleLbl="parChTrans1D3" presStyleIdx="0" presStyleCnt="5"/>
      <dgm:spPr/>
    </dgm:pt>
    <dgm:pt modelId="{9AE9DF00-383B-4713-BA68-B54DBAA73515}" type="pres">
      <dgm:prSet presAssocID="{1C5ED702-6D00-4A1D-9C7A-436C60845140}" presName="hierRoot2" presStyleCnt="0">
        <dgm:presLayoutVars>
          <dgm:hierBranch/>
        </dgm:presLayoutVars>
      </dgm:prSet>
      <dgm:spPr/>
    </dgm:pt>
    <dgm:pt modelId="{202DCB8C-26F2-4987-9911-77C3BD2E403A}" type="pres">
      <dgm:prSet presAssocID="{1C5ED702-6D00-4A1D-9C7A-436C60845140}" presName="rootComposite" presStyleCnt="0"/>
      <dgm:spPr/>
    </dgm:pt>
    <dgm:pt modelId="{8CC729E0-048C-4A38-B2A1-88086D3534AD}" type="pres">
      <dgm:prSet presAssocID="{1C5ED702-6D00-4A1D-9C7A-436C60845140}" presName="rootText" presStyleLbl="node3" presStyleIdx="0" presStyleCnt="5">
        <dgm:presLayoutVars>
          <dgm:chPref val="3"/>
        </dgm:presLayoutVars>
      </dgm:prSet>
      <dgm:spPr/>
    </dgm:pt>
    <dgm:pt modelId="{ABBEBFB4-6AC5-4350-B24F-31FE8D5C42C9}" type="pres">
      <dgm:prSet presAssocID="{1C5ED702-6D00-4A1D-9C7A-436C60845140}" presName="rootConnector" presStyleLbl="node3" presStyleIdx="0" presStyleCnt="5"/>
      <dgm:spPr/>
    </dgm:pt>
    <dgm:pt modelId="{39F5A7BD-C401-4946-8E8D-DC7CC7B34B77}" type="pres">
      <dgm:prSet presAssocID="{1C5ED702-6D00-4A1D-9C7A-436C60845140}" presName="hierChild4" presStyleCnt="0"/>
      <dgm:spPr/>
    </dgm:pt>
    <dgm:pt modelId="{E04B59F1-0AC2-4C67-9B95-FBF8C2AEAE1B}" type="pres">
      <dgm:prSet presAssocID="{FE922007-D0EF-49DB-B0DC-7D5928EC21F1}" presName="Name35" presStyleLbl="parChTrans1D4" presStyleIdx="0" presStyleCnt="23"/>
      <dgm:spPr/>
    </dgm:pt>
    <dgm:pt modelId="{514619AC-B3A7-47B6-BE42-B7E50710CD67}" type="pres">
      <dgm:prSet presAssocID="{5C7BC345-B12F-49C2-87CA-37D3378B1C6C}" presName="hierRoot2" presStyleCnt="0">
        <dgm:presLayoutVars>
          <dgm:hierBranch val="init"/>
        </dgm:presLayoutVars>
      </dgm:prSet>
      <dgm:spPr/>
    </dgm:pt>
    <dgm:pt modelId="{9858EAE4-4342-4872-BD41-BE13DF2D7D80}" type="pres">
      <dgm:prSet presAssocID="{5C7BC345-B12F-49C2-87CA-37D3378B1C6C}" presName="rootComposite" presStyleCnt="0"/>
      <dgm:spPr/>
    </dgm:pt>
    <dgm:pt modelId="{BD892431-E279-4FAF-BD13-E4A4FBEEACAC}" type="pres">
      <dgm:prSet presAssocID="{5C7BC345-B12F-49C2-87CA-37D3378B1C6C}" presName="rootText" presStyleLbl="node4" presStyleIdx="0" presStyleCnt="23" custLinFactNeighborX="1920" custLinFactNeighborY="5760">
        <dgm:presLayoutVars>
          <dgm:chPref val="3"/>
        </dgm:presLayoutVars>
      </dgm:prSet>
      <dgm:spPr/>
    </dgm:pt>
    <dgm:pt modelId="{EECD4322-B1C1-4625-BE92-0544D012A0A1}" type="pres">
      <dgm:prSet presAssocID="{5C7BC345-B12F-49C2-87CA-37D3378B1C6C}" presName="rootConnector" presStyleLbl="node4" presStyleIdx="0" presStyleCnt="23"/>
      <dgm:spPr/>
    </dgm:pt>
    <dgm:pt modelId="{40074E54-F20F-4F18-8D53-AC1FB38C47AB}" type="pres">
      <dgm:prSet presAssocID="{5C7BC345-B12F-49C2-87CA-37D3378B1C6C}" presName="hierChild4" presStyleCnt="0"/>
      <dgm:spPr/>
    </dgm:pt>
    <dgm:pt modelId="{EDC30AD0-1BF1-49DE-BBBF-050125F44676}" type="pres">
      <dgm:prSet presAssocID="{1EDBB388-C7ED-4F47-AFA1-49017C082704}" presName="Name37" presStyleLbl="parChTrans1D4" presStyleIdx="1" presStyleCnt="23"/>
      <dgm:spPr/>
    </dgm:pt>
    <dgm:pt modelId="{C00426F8-C4EA-403B-A7C7-66389DE7C020}" type="pres">
      <dgm:prSet presAssocID="{2CB46D88-A37E-4B7C-A4D0-EE01A2D063D2}" presName="hierRoot2" presStyleCnt="0">
        <dgm:presLayoutVars>
          <dgm:hierBranch val="init"/>
        </dgm:presLayoutVars>
      </dgm:prSet>
      <dgm:spPr/>
    </dgm:pt>
    <dgm:pt modelId="{E2079A0E-07B2-4814-BAA1-05D424AF974D}" type="pres">
      <dgm:prSet presAssocID="{2CB46D88-A37E-4B7C-A4D0-EE01A2D063D2}" presName="rootComposite" presStyleCnt="0"/>
      <dgm:spPr/>
    </dgm:pt>
    <dgm:pt modelId="{BB9456C3-1730-4153-BAC1-76A7B7DE168E}" type="pres">
      <dgm:prSet presAssocID="{2CB46D88-A37E-4B7C-A4D0-EE01A2D063D2}" presName="rootText" presStyleLbl="node4" presStyleIdx="1" presStyleCnt="23" custLinFactNeighborX="172">
        <dgm:presLayoutVars>
          <dgm:chPref val="3"/>
        </dgm:presLayoutVars>
      </dgm:prSet>
      <dgm:spPr/>
    </dgm:pt>
    <dgm:pt modelId="{D985CD73-610D-4AD1-8D26-E8075C757933}" type="pres">
      <dgm:prSet presAssocID="{2CB46D88-A37E-4B7C-A4D0-EE01A2D063D2}" presName="rootConnector" presStyleLbl="node4" presStyleIdx="1" presStyleCnt="23"/>
      <dgm:spPr/>
    </dgm:pt>
    <dgm:pt modelId="{776739EA-94A8-4BA1-8A7D-D2BAD551EAC8}" type="pres">
      <dgm:prSet presAssocID="{2CB46D88-A37E-4B7C-A4D0-EE01A2D063D2}" presName="hierChild4" presStyleCnt="0"/>
      <dgm:spPr/>
    </dgm:pt>
    <dgm:pt modelId="{71E9045E-A50F-4180-BC82-766575B588A1}" type="pres">
      <dgm:prSet presAssocID="{2CB46D88-A37E-4B7C-A4D0-EE01A2D063D2}" presName="hierChild5" presStyleCnt="0"/>
      <dgm:spPr/>
    </dgm:pt>
    <dgm:pt modelId="{05FA96D6-E130-46C9-A75C-1D864AAA16EB}" type="pres">
      <dgm:prSet presAssocID="{60819F5D-1058-4309-8330-F01818CD4500}" presName="Name37" presStyleLbl="parChTrans1D4" presStyleIdx="2" presStyleCnt="23"/>
      <dgm:spPr/>
    </dgm:pt>
    <dgm:pt modelId="{1FFA1B56-3A58-4294-B7A8-843351052266}" type="pres">
      <dgm:prSet presAssocID="{607D7892-2569-4A31-BE0E-822482C37F3D}" presName="hierRoot2" presStyleCnt="0">
        <dgm:presLayoutVars>
          <dgm:hierBranch val="init"/>
        </dgm:presLayoutVars>
      </dgm:prSet>
      <dgm:spPr/>
    </dgm:pt>
    <dgm:pt modelId="{1F83E78C-65D8-44F0-9647-A24A377A005D}" type="pres">
      <dgm:prSet presAssocID="{607D7892-2569-4A31-BE0E-822482C37F3D}" presName="rootComposite" presStyleCnt="0"/>
      <dgm:spPr/>
    </dgm:pt>
    <dgm:pt modelId="{D133B60E-B11D-41E6-983D-AFA56DD8A857}" type="pres">
      <dgm:prSet presAssocID="{607D7892-2569-4A31-BE0E-822482C37F3D}" presName="rootText" presStyleLbl="node4" presStyleIdx="2" presStyleCnt="23">
        <dgm:presLayoutVars>
          <dgm:chPref val="3"/>
        </dgm:presLayoutVars>
      </dgm:prSet>
      <dgm:spPr/>
    </dgm:pt>
    <dgm:pt modelId="{B28B4B3E-A788-4769-AA87-46CAA76CAEA8}" type="pres">
      <dgm:prSet presAssocID="{607D7892-2569-4A31-BE0E-822482C37F3D}" presName="rootConnector" presStyleLbl="node4" presStyleIdx="2" presStyleCnt="23"/>
      <dgm:spPr/>
    </dgm:pt>
    <dgm:pt modelId="{25C3E81D-C8ED-4BB0-873B-E42E10C83789}" type="pres">
      <dgm:prSet presAssocID="{607D7892-2569-4A31-BE0E-822482C37F3D}" presName="hierChild4" presStyleCnt="0"/>
      <dgm:spPr/>
    </dgm:pt>
    <dgm:pt modelId="{504E5852-2BA3-4452-823B-0322A9B114FD}" type="pres">
      <dgm:prSet presAssocID="{607D7892-2569-4A31-BE0E-822482C37F3D}" presName="hierChild5" presStyleCnt="0"/>
      <dgm:spPr/>
    </dgm:pt>
    <dgm:pt modelId="{14BD35A4-B0E3-4085-9410-A46734042A6B}" type="pres">
      <dgm:prSet presAssocID="{627B2C3E-2E5E-42E2-9BF9-31A8B335D95D}" presName="Name37" presStyleLbl="parChTrans1D4" presStyleIdx="3" presStyleCnt="23"/>
      <dgm:spPr/>
    </dgm:pt>
    <dgm:pt modelId="{C8CF69BD-3932-49E8-BEB1-AD43D1DA8063}" type="pres">
      <dgm:prSet presAssocID="{401115A0-4D38-46A8-B3C5-D7E892CAAD5B}" presName="hierRoot2" presStyleCnt="0">
        <dgm:presLayoutVars>
          <dgm:hierBranch val="init"/>
        </dgm:presLayoutVars>
      </dgm:prSet>
      <dgm:spPr/>
    </dgm:pt>
    <dgm:pt modelId="{8FBC3B11-A3EC-462F-8136-217CA71E988F}" type="pres">
      <dgm:prSet presAssocID="{401115A0-4D38-46A8-B3C5-D7E892CAAD5B}" presName="rootComposite" presStyleCnt="0"/>
      <dgm:spPr/>
    </dgm:pt>
    <dgm:pt modelId="{6D9C4384-C201-400C-9F66-F43E8A6B3EBC}" type="pres">
      <dgm:prSet presAssocID="{401115A0-4D38-46A8-B3C5-D7E892CAAD5B}" presName="rootText" presStyleLbl="node4" presStyleIdx="3" presStyleCnt="23" custLinFactNeighborX="172">
        <dgm:presLayoutVars>
          <dgm:chPref val="3"/>
        </dgm:presLayoutVars>
      </dgm:prSet>
      <dgm:spPr/>
    </dgm:pt>
    <dgm:pt modelId="{1FB57A76-326D-4FDB-B50C-BD51CD959EAF}" type="pres">
      <dgm:prSet presAssocID="{401115A0-4D38-46A8-B3C5-D7E892CAAD5B}" presName="rootConnector" presStyleLbl="node4" presStyleIdx="3" presStyleCnt="23"/>
      <dgm:spPr/>
    </dgm:pt>
    <dgm:pt modelId="{EA323722-946D-4EFD-814B-9C56AF6E111E}" type="pres">
      <dgm:prSet presAssocID="{401115A0-4D38-46A8-B3C5-D7E892CAAD5B}" presName="hierChild4" presStyleCnt="0"/>
      <dgm:spPr/>
    </dgm:pt>
    <dgm:pt modelId="{17B1FE9D-E367-4717-87B2-F8E962169158}" type="pres">
      <dgm:prSet presAssocID="{401115A0-4D38-46A8-B3C5-D7E892CAAD5B}" presName="hierChild5" presStyleCnt="0"/>
      <dgm:spPr/>
    </dgm:pt>
    <dgm:pt modelId="{4B73B73B-8152-4B3B-B8D1-8B79DD44CD90}" type="pres">
      <dgm:prSet presAssocID="{C040A107-5400-476F-9196-289C01A5ECAB}" presName="Name37" presStyleLbl="parChTrans1D4" presStyleIdx="4" presStyleCnt="23"/>
      <dgm:spPr/>
    </dgm:pt>
    <dgm:pt modelId="{2BAB9F0A-B704-4518-A0A5-C9F5DEB6F87C}" type="pres">
      <dgm:prSet presAssocID="{33A68A52-6159-4DAE-B33E-2FF719C49558}" presName="hierRoot2" presStyleCnt="0">
        <dgm:presLayoutVars>
          <dgm:hierBranch val="init"/>
        </dgm:presLayoutVars>
      </dgm:prSet>
      <dgm:spPr/>
    </dgm:pt>
    <dgm:pt modelId="{648A1259-CC8C-42DF-A646-BDC337189DA0}" type="pres">
      <dgm:prSet presAssocID="{33A68A52-6159-4DAE-B33E-2FF719C49558}" presName="rootComposite" presStyleCnt="0"/>
      <dgm:spPr/>
    </dgm:pt>
    <dgm:pt modelId="{E5A8D694-AD1C-4826-86E7-9D6DCB9E1BCF}" type="pres">
      <dgm:prSet presAssocID="{33A68A52-6159-4DAE-B33E-2FF719C49558}" presName="rootText" presStyleLbl="node4" presStyleIdx="4" presStyleCnt="23">
        <dgm:presLayoutVars>
          <dgm:chPref val="3"/>
        </dgm:presLayoutVars>
      </dgm:prSet>
      <dgm:spPr/>
    </dgm:pt>
    <dgm:pt modelId="{002AD001-EA03-4060-AE4E-EED9B0E8E8C5}" type="pres">
      <dgm:prSet presAssocID="{33A68A52-6159-4DAE-B33E-2FF719C49558}" presName="rootConnector" presStyleLbl="node4" presStyleIdx="4" presStyleCnt="23"/>
      <dgm:spPr/>
    </dgm:pt>
    <dgm:pt modelId="{7E48F70D-41BC-4DE4-8A7A-20A2C381768B}" type="pres">
      <dgm:prSet presAssocID="{33A68A52-6159-4DAE-B33E-2FF719C49558}" presName="hierChild4" presStyleCnt="0"/>
      <dgm:spPr/>
    </dgm:pt>
    <dgm:pt modelId="{2D8D326B-AAEF-4748-B3C1-13C7E925496C}" type="pres">
      <dgm:prSet presAssocID="{33A68A52-6159-4DAE-B33E-2FF719C49558}" presName="hierChild5" presStyleCnt="0"/>
      <dgm:spPr/>
    </dgm:pt>
    <dgm:pt modelId="{C7328AD3-2368-47D8-B7B4-D0E18EB0058C}" type="pres">
      <dgm:prSet presAssocID="{5C7BC345-B12F-49C2-87CA-37D3378B1C6C}" presName="hierChild5" presStyleCnt="0"/>
      <dgm:spPr/>
    </dgm:pt>
    <dgm:pt modelId="{D43CFD97-6050-49EA-B621-13E31815401B}" type="pres">
      <dgm:prSet presAssocID="{FDC28D2D-E716-40BA-A482-2A6FA920FE7F}" presName="Name35" presStyleLbl="parChTrans1D4" presStyleIdx="5" presStyleCnt="23"/>
      <dgm:spPr/>
    </dgm:pt>
    <dgm:pt modelId="{AA4930E1-9369-439B-A2B1-161B929BBF83}" type="pres">
      <dgm:prSet presAssocID="{F44A1BDD-EE53-4FA6-A4D3-0B829201FF10}" presName="hierRoot2" presStyleCnt="0">
        <dgm:presLayoutVars>
          <dgm:hierBranch val="init"/>
        </dgm:presLayoutVars>
      </dgm:prSet>
      <dgm:spPr/>
    </dgm:pt>
    <dgm:pt modelId="{3BE4C1CE-8A28-4E1A-B65D-BA0CB6A2A7F0}" type="pres">
      <dgm:prSet presAssocID="{F44A1BDD-EE53-4FA6-A4D3-0B829201FF10}" presName="rootComposite" presStyleCnt="0"/>
      <dgm:spPr/>
    </dgm:pt>
    <dgm:pt modelId="{E5C5F92F-6F25-462F-AF8F-6112574BA167}" type="pres">
      <dgm:prSet presAssocID="{F44A1BDD-EE53-4FA6-A4D3-0B829201FF10}" presName="rootText" presStyleLbl="node4" presStyleIdx="5" presStyleCnt="23" custLinFactNeighborX="1920" custLinFactNeighborY="5760">
        <dgm:presLayoutVars>
          <dgm:chPref val="3"/>
        </dgm:presLayoutVars>
      </dgm:prSet>
      <dgm:spPr/>
    </dgm:pt>
    <dgm:pt modelId="{DF5D379C-685C-4EFA-A4EF-BCD9612D0EB7}" type="pres">
      <dgm:prSet presAssocID="{F44A1BDD-EE53-4FA6-A4D3-0B829201FF10}" presName="rootConnector" presStyleLbl="node4" presStyleIdx="5" presStyleCnt="23"/>
      <dgm:spPr/>
    </dgm:pt>
    <dgm:pt modelId="{4F4981CB-24DE-4427-865E-B9A4E6F516D4}" type="pres">
      <dgm:prSet presAssocID="{F44A1BDD-EE53-4FA6-A4D3-0B829201FF10}" presName="hierChild4" presStyleCnt="0"/>
      <dgm:spPr/>
    </dgm:pt>
    <dgm:pt modelId="{74AB3598-72BD-488E-B783-ED7130A6023F}" type="pres">
      <dgm:prSet presAssocID="{259E44B6-650C-464D-A315-0E0EC8C2618D}" presName="Name37" presStyleLbl="parChTrans1D4" presStyleIdx="6" presStyleCnt="23"/>
      <dgm:spPr/>
    </dgm:pt>
    <dgm:pt modelId="{CB89603D-24E2-4CCE-A7BD-7B81E846CC76}" type="pres">
      <dgm:prSet presAssocID="{1A09EF79-2F34-4D48-9D45-887EDCC7FCA1}" presName="hierRoot2" presStyleCnt="0">
        <dgm:presLayoutVars>
          <dgm:hierBranch val="init"/>
        </dgm:presLayoutVars>
      </dgm:prSet>
      <dgm:spPr/>
    </dgm:pt>
    <dgm:pt modelId="{5743994A-AC0C-49DC-A39B-B035EB79F261}" type="pres">
      <dgm:prSet presAssocID="{1A09EF79-2F34-4D48-9D45-887EDCC7FCA1}" presName="rootComposite" presStyleCnt="0"/>
      <dgm:spPr/>
    </dgm:pt>
    <dgm:pt modelId="{9BF330ED-773F-45AE-BFF2-2A9E6324428E}" type="pres">
      <dgm:prSet presAssocID="{1A09EF79-2F34-4D48-9D45-887EDCC7FCA1}" presName="rootText" presStyleLbl="node4" presStyleIdx="6" presStyleCnt="23" custLinFactNeighborX="172">
        <dgm:presLayoutVars>
          <dgm:chPref val="3"/>
        </dgm:presLayoutVars>
      </dgm:prSet>
      <dgm:spPr/>
    </dgm:pt>
    <dgm:pt modelId="{167A7ED0-4FDF-40D2-91CA-2E110C90DA5F}" type="pres">
      <dgm:prSet presAssocID="{1A09EF79-2F34-4D48-9D45-887EDCC7FCA1}" presName="rootConnector" presStyleLbl="node4" presStyleIdx="6" presStyleCnt="23"/>
      <dgm:spPr/>
    </dgm:pt>
    <dgm:pt modelId="{F52BD14E-5C91-4741-9F34-FD1EFB26B783}" type="pres">
      <dgm:prSet presAssocID="{1A09EF79-2F34-4D48-9D45-887EDCC7FCA1}" presName="hierChild4" presStyleCnt="0"/>
      <dgm:spPr/>
    </dgm:pt>
    <dgm:pt modelId="{461151F4-53A5-481A-8088-62EA681AE4BA}" type="pres">
      <dgm:prSet presAssocID="{1A09EF79-2F34-4D48-9D45-887EDCC7FCA1}" presName="hierChild5" presStyleCnt="0"/>
      <dgm:spPr/>
    </dgm:pt>
    <dgm:pt modelId="{9FDA0F64-BC6C-4F68-806C-26BC35A22C08}" type="pres">
      <dgm:prSet presAssocID="{3070FEAF-E714-4809-86DA-9D9DC615893B}" presName="Name37" presStyleLbl="parChTrans1D4" presStyleIdx="7" presStyleCnt="23"/>
      <dgm:spPr/>
    </dgm:pt>
    <dgm:pt modelId="{24E0F532-EF7B-432D-A186-FE40C4588199}" type="pres">
      <dgm:prSet presAssocID="{26191A03-3627-4E26-AC2F-FFD548AF77D1}" presName="hierRoot2" presStyleCnt="0">
        <dgm:presLayoutVars>
          <dgm:hierBranch val="init"/>
        </dgm:presLayoutVars>
      </dgm:prSet>
      <dgm:spPr/>
    </dgm:pt>
    <dgm:pt modelId="{93A1C2A6-381C-472A-B715-37F5F2A4D5B7}" type="pres">
      <dgm:prSet presAssocID="{26191A03-3627-4E26-AC2F-FFD548AF77D1}" presName="rootComposite" presStyleCnt="0"/>
      <dgm:spPr/>
    </dgm:pt>
    <dgm:pt modelId="{1C363F96-B440-42B6-A547-56600F95A979}" type="pres">
      <dgm:prSet presAssocID="{26191A03-3627-4E26-AC2F-FFD548AF77D1}" presName="rootText" presStyleLbl="node4" presStyleIdx="7" presStyleCnt="23">
        <dgm:presLayoutVars>
          <dgm:chPref val="3"/>
        </dgm:presLayoutVars>
      </dgm:prSet>
      <dgm:spPr/>
    </dgm:pt>
    <dgm:pt modelId="{2D0BE812-9068-44D8-9F2B-06F722AEE7FE}" type="pres">
      <dgm:prSet presAssocID="{26191A03-3627-4E26-AC2F-FFD548AF77D1}" presName="rootConnector" presStyleLbl="node4" presStyleIdx="7" presStyleCnt="23"/>
      <dgm:spPr/>
    </dgm:pt>
    <dgm:pt modelId="{04D504F3-AB17-45C4-B30A-ED9FBDF5647F}" type="pres">
      <dgm:prSet presAssocID="{26191A03-3627-4E26-AC2F-FFD548AF77D1}" presName="hierChild4" presStyleCnt="0"/>
      <dgm:spPr/>
    </dgm:pt>
    <dgm:pt modelId="{E60BED37-DFB4-4E43-B462-BFAD151DAF64}" type="pres">
      <dgm:prSet presAssocID="{26191A03-3627-4E26-AC2F-FFD548AF77D1}" presName="hierChild5" presStyleCnt="0"/>
      <dgm:spPr/>
    </dgm:pt>
    <dgm:pt modelId="{AF4C31F8-A271-48CF-BCCC-51BE3B598757}" type="pres">
      <dgm:prSet presAssocID="{7DB54FCA-DCE7-4972-AF17-E6160395D967}" presName="Name37" presStyleLbl="parChTrans1D4" presStyleIdx="8" presStyleCnt="23"/>
      <dgm:spPr/>
    </dgm:pt>
    <dgm:pt modelId="{47427BA2-7A78-4563-BDEB-308F9175D2E5}" type="pres">
      <dgm:prSet presAssocID="{11A47870-75E9-4C3F-892B-448E73141CBD}" presName="hierRoot2" presStyleCnt="0">
        <dgm:presLayoutVars>
          <dgm:hierBranch val="init"/>
        </dgm:presLayoutVars>
      </dgm:prSet>
      <dgm:spPr/>
    </dgm:pt>
    <dgm:pt modelId="{38AE3C0E-FCEF-4B1C-A610-86FB795028E8}" type="pres">
      <dgm:prSet presAssocID="{11A47870-75E9-4C3F-892B-448E73141CBD}" presName="rootComposite" presStyleCnt="0"/>
      <dgm:spPr/>
    </dgm:pt>
    <dgm:pt modelId="{50F93FED-FAD8-4246-8380-95E5FD1CAFCF}" type="pres">
      <dgm:prSet presAssocID="{11A47870-75E9-4C3F-892B-448E73141CBD}" presName="rootText" presStyleLbl="node4" presStyleIdx="8" presStyleCnt="23" custLinFactNeighborX="172">
        <dgm:presLayoutVars>
          <dgm:chPref val="3"/>
        </dgm:presLayoutVars>
      </dgm:prSet>
      <dgm:spPr/>
    </dgm:pt>
    <dgm:pt modelId="{CDD983B0-8FE9-496E-A348-1717DA1A98BF}" type="pres">
      <dgm:prSet presAssocID="{11A47870-75E9-4C3F-892B-448E73141CBD}" presName="rootConnector" presStyleLbl="node4" presStyleIdx="8" presStyleCnt="23"/>
      <dgm:spPr/>
    </dgm:pt>
    <dgm:pt modelId="{61DF0730-3A4F-4AD6-AA71-E1361092B3A8}" type="pres">
      <dgm:prSet presAssocID="{11A47870-75E9-4C3F-892B-448E73141CBD}" presName="hierChild4" presStyleCnt="0"/>
      <dgm:spPr/>
    </dgm:pt>
    <dgm:pt modelId="{3A6AE6D0-74EF-4DB9-BFA2-806626FEE2CA}" type="pres">
      <dgm:prSet presAssocID="{11A47870-75E9-4C3F-892B-448E73141CBD}" presName="hierChild5" presStyleCnt="0"/>
      <dgm:spPr/>
    </dgm:pt>
    <dgm:pt modelId="{0D1E12E0-9EC4-420E-8447-34C8E5655286}" type="pres">
      <dgm:prSet presAssocID="{5357A782-4AA4-4718-8F33-A7151D18ACA4}" presName="Name37" presStyleLbl="parChTrans1D4" presStyleIdx="9" presStyleCnt="23"/>
      <dgm:spPr/>
    </dgm:pt>
    <dgm:pt modelId="{EB14C6F1-6E99-4180-A04E-D00F567D68F5}" type="pres">
      <dgm:prSet presAssocID="{35276BF8-A74A-468D-873C-DBC02263A51E}" presName="hierRoot2" presStyleCnt="0">
        <dgm:presLayoutVars>
          <dgm:hierBranch val="init"/>
        </dgm:presLayoutVars>
      </dgm:prSet>
      <dgm:spPr/>
    </dgm:pt>
    <dgm:pt modelId="{5E98DA1C-A273-45FD-8C84-245DA2D37719}" type="pres">
      <dgm:prSet presAssocID="{35276BF8-A74A-468D-873C-DBC02263A51E}" presName="rootComposite" presStyleCnt="0"/>
      <dgm:spPr/>
    </dgm:pt>
    <dgm:pt modelId="{901B3078-2251-40B5-B048-64F4648E7EA1}" type="pres">
      <dgm:prSet presAssocID="{35276BF8-A74A-468D-873C-DBC02263A51E}" presName="rootText" presStyleLbl="node4" presStyleIdx="9" presStyleCnt="23">
        <dgm:presLayoutVars>
          <dgm:chPref val="3"/>
        </dgm:presLayoutVars>
      </dgm:prSet>
      <dgm:spPr/>
    </dgm:pt>
    <dgm:pt modelId="{ABDF2FD1-1E0C-434E-AE15-E15860706D31}" type="pres">
      <dgm:prSet presAssocID="{35276BF8-A74A-468D-873C-DBC02263A51E}" presName="rootConnector" presStyleLbl="node4" presStyleIdx="9" presStyleCnt="23"/>
      <dgm:spPr/>
    </dgm:pt>
    <dgm:pt modelId="{CB08E346-059E-47DD-95B4-33B55C6AB1CA}" type="pres">
      <dgm:prSet presAssocID="{35276BF8-A74A-468D-873C-DBC02263A51E}" presName="hierChild4" presStyleCnt="0"/>
      <dgm:spPr/>
    </dgm:pt>
    <dgm:pt modelId="{101F261B-3F37-400C-9693-14D22271F33D}" type="pres">
      <dgm:prSet presAssocID="{35276BF8-A74A-468D-873C-DBC02263A51E}" presName="hierChild5" presStyleCnt="0"/>
      <dgm:spPr/>
    </dgm:pt>
    <dgm:pt modelId="{FC9E5020-3F34-4AAF-84BD-223A92F87DC9}" type="pres">
      <dgm:prSet presAssocID="{F44A1BDD-EE53-4FA6-A4D3-0B829201FF10}" presName="hierChild5" presStyleCnt="0"/>
      <dgm:spPr/>
    </dgm:pt>
    <dgm:pt modelId="{B230E744-2865-447F-9700-694E7867DAD2}" type="pres">
      <dgm:prSet presAssocID="{A238298E-3EEE-4A34-B98A-E7332B4FFAD1}" presName="Name35" presStyleLbl="parChTrans1D4" presStyleIdx="10" presStyleCnt="23"/>
      <dgm:spPr/>
    </dgm:pt>
    <dgm:pt modelId="{ACC46383-826D-43E3-BFC3-5942F40599D0}" type="pres">
      <dgm:prSet presAssocID="{85E5C545-5700-4BFF-96E3-067421E43709}" presName="hierRoot2" presStyleCnt="0">
        <dgm:presLayoutVars>
          <dgm:hierBranch val="init"/>
        </dgm:presLayoutVars>
      </dgm:prSet>
      <dgm:spPr/>
    </dgm:pt>
    <dgm:pt modelId="{EFD6FB6C-C1C9-4784-99DE-6D821521C9DF}" type="pres">
      <dgm:prSet presAssocID="{85E5C545-5700-4BFF-96E3-067421E43709}" presName="rootComposite" presStyleCnt="0"/>
      <dgm:spPr/>
    </dgm:pt>
    <dgm:pt modelId="{2B9A1528-98E5-4569-A97E-BFDD511ED2EE}" type="pres">
      <dgm:prSet presAssocID="{85E5C545-5700-4BFF-96E3-067421E43709}" presName="rootText" presStyleLbl="node4" presStyleIdx="10" presStyleCnt="23">
        <dgm:presLayoutVars>
          <dgm:chPref val="3"/>
        </dgm:presLayoutVars>
      </dgm:prSet>
      <dgm:spPr/>
    </dgm:pt>
    <dgm:pt modelId="{F2969774-8F45-4C87-8042-E0556A974281}" type="pres">
      <dgm:prSet presAssocID="{85E5C545-5700-4BFF-96E3-067421E43709}" presName="rootConnector" presStyleLbl="node4" presStyleIdx="10" presStyleCnt="23"/>
      <dgm:spPr/>
    </dgm:pt>
    <dgm:pt modelId="{777A1B9E-0655-4DC1-9FE5-F7A202A91968}" type="pres">
      <dgm:prSet presAssocID="{85E5C545-5700-4BFF-96E3-067421E43709}" presName="hierChild4" presStyleCnt="0"/>
      <dgm:spPr/>
    </dgm:pt>
    <dgm:pt modelId="{618CB869-2372-4497-8365-8ACE3844D6F7}" type="pres">
      <dgm:prSet presAssocID="{85E5C545-5700-4BFF-96E3-067421E43709}" presName="hierChild5" presStyleCnt="0"/>
      <dgm:spPr/>
    </dgm:pt>
    <dgm:pt modelId="{67CD5DEB-3CC4-4710-BD2B-727E55A50877}" type="pres">
      <dgm:prSet presAssocID="{1C5ED702-6D00-4A1D-9C7A-436C60845140}" presName="hierChild5" presStyleCnt="0"/>
      <dgm:spPr/>
    </dgm:pt>
    <dgm:pt modelId="{DDE103C2-4CA4-447B-AE83-5860DCE92497}" type="pres">
      <dgm:prSet presAssocID="{D64F388A-C0B3-409F-A358-94DADAAB1854}" presName="Name35" presStyleLbl="parChTrans1D3" presStyleIdx="1" presStyleCnt="5"/>
      <dgm:spPr/>
    </dgm:pt>
    <dgm:pt modelId="{29231FD0-CEAA-4595-80EB-1743698D9785}" type="pres">
      <dgm:prSet presAssocID="{7A986BF1-5D42-42AC-97C9-61508A15C7D6}" presName="hierRoot2" presStyleCnt="0">
        <dgm:presLayoutVars>
          <dgm:hierBranch val="init"/>
        </dgm:presLayoutVars>
      </dgm:prSet>
      <dgm:spPr/>
    </dgm:pt>
    <dgm:pt modelId="{06A444C9-CFA3-4404-BDC3-A69A2720E5BC}" type="pres">
      <dgm:prSet presAssocID="{7A986BF1-5D42-42AC-97C9-61508A15C7D6}" presName="rootComposite" presStyleCnt="0"/>
      <dgm:spPr/>
    </dgm:pt>
    <dgm:pt modelId="{DFCAFEF8-DFFB-41E8-9B88-89EE67A118E4}" type="pres">
      <dgm:prSet presAssocID="{7A986BF1-5D42-42AC-97C9-61508A15C7D6}" presName="rootText" presStyleLbl="node3" presStyleIdx="1" presStyleCnt="5">
        <dgm:presLayoutVars>
          <dgm:chPref val="3"/>
        </dgm:presLayoutVars>
      </dgm:prSet>
      <dgm:spPr/>
    </dgm:pt>
    <dgm:pt modelId="{D3D0B91B-D5DA-4D9E-AD50-250415BF1051}" type="pres">
      <dgm:prSet presAssocID="{7A986BF1-5D42-42AC-97C9-61508A15C7D6}" presName="rootConnector" presStyleLbl="node3" presStyleIdx="1" presStyleCnt="5"/>
      <dgm:spPr/>
    </dgm:pt>
    <dgm:pt modelId="{2AB54AED-61CD-4953-8AE7-1CA69DF72D36}" type="pres">
      <dgm:prSet presAssocID="{7A986BF1-5D42-42AC-97C9-61508A15C7D6}" presName="hierChild4" presStyleCnt="0"/>
      <dgm:spPr/>
    </dgm:pt>
    <dgm:pt modelId="{BC06B786-1B4D-444A-9D4E-38A75AB08222}" type="pres">
      <dgm:prSet presAssocID="{5D9A5639-78F5-48AE-945F-B3918B713637}" presName="Name37" presStyleLbl="parChTrans1D4" presStyleIdx="11" presStyleCnt="23"/>
      <dgm:spPr/>
    </dgm:pt>
    <dgm:pt modelId="{CA135208-CC69-4BB5-A5BA-614F475A0845}" type="pres">
      <dgm:prSet presAssocID="{DAAAF051-89F7-4FE1-9EEC-976056B64CFB}" presName="hierRoot2" presStyleCnt="0">
        <dgm:presLayoutVars>
          <dgm:hierBranch val="init"/>
        </dgm:presLayoutVars>
      </dgm:prSet>
      <dgm:spPr/>
    </dgm:pt>
    <dgm:pt modelId="{B6310C4B-5E63-459A-9793-D0E83AB90C0F}" type="pres">
      <dgm:prSet presAssocID="{DAAAF051-89F7-4FE1-9EEC-976056B64CFB}" presName="rootComposite" presStyleCnt="0"/>
      <dgm:spPr/>
    </dgm:pt>
    <dgm:pt modelId="{B94123BB-5C69-4716-9BD0-9FEA21E7532F}" type="pres">
      <dgm:prSet presAssocID="{DAAAF051-89F7-4FE1-9EEC-976056B64CFB}" presName="rootText" presStyleLbl="node4" presStyleIdx="11" presStyleCnt="23">
        <dgm:presLayoutVars>
          <dgm:chPref val="3"/>
        </dgm:presLayoutVars>
      </dgm:prSet>
      <dgm:spPr/>
    </dgm:pt>
    <dgm:pt modelId="{73E3B1CC-C012-4D44-9DD8-0993C59B7564}" type="pres">
      <dgm:prSet presAssocID="{DAAAF051-89F7-4FE1-9EEC-976056B64CFB}" presName="rootConnector" presStyleLbl="node4" presStyleIdx="11" presStyleCnt="23"/>
      <dgm:spPr/>
    </dgm:pt>
    <dgm:pt modelId="{539FD1D6-4F9B-486B-9D07-539C45900444}" type="pres">
      <dgm:prSet presAssocID="{DAAAF051-89F7-4FE1-9EEC-976056B64CFB}" presName="hierChild4" presStyleCnt="0"/>
      <dgm:spPr/>
    </dgm:pt>
    <dgm:pt modelId="{F6E89310-FC42-4CFC-AF78-B4FFFB7E26DF}" type="pres">
      <dgm:prSet presAssocID="{1D791ABE-2EA9-46CA-9A1A-D7360B8B3BD4}" presName="Name37" presStyleLbl="parChTrans1D4" presStyleIdx="12" presStyleCnt="23"/>
      <dgm:spPr/>
    </dgm:pt>
    <dgm:pt modelId="{443C6266-5459-4C77-B4EF-6781263F7325}" type="pres">
      <dgm:prSet presAssocID="{2A761EA2-E205-4836-81B0-F019EC2C64EC}" presName="hierRoot2" presStyleCnt="0">
        <dgm:presLayoutVars>
          <dgm:hierBranch val="init"/>
        </dgm:presLayoutVars>
      </dgm:prSet>
      <dgm:spPr/>
    </dgm:pt>
    <dgm:pt modelId="{47DD2F01-C4CD-4AD8-A166-CA4573B3C1F4}" type="pres">
      <dgm:prSet presAssocID="{2A761EA2-E205-4836-81B0-F019EC2C64EC}" presName="rootComposite" presStyleCnt="0"/>
      <dgm:spPr/>
    </dgm:pt>
    <dgm:pt modelId="{880978F7-F988-4489-B57D-9BE0F4E9EEAC}" type="pres">
      <dgm:prSet presAssocID="{2A761EA2-E205-4836-81B0-F019EC2C64EC}" presName="rootText" presStyleLbl="node4" presStyleIdx="12" presStyleCnt="23">
        <dgm:presLayoutVars>
          <dgm:chPref val="3"/>
        </dgm:presLayoutVars>
      </dgm:prSet>
      <dgm:spPr/>
    </dgm:pt>
    <dgm:pt modelId="{643E314E-EA7C-4D66-9F1B-C22FCC401F1F}" type="pres">
      <dgm:prSet presAssocID="{2A761EA2-E205-4836-81B0-F019EC2C64EC}" presName="rootConnector" presStyleLbl="node4" presStyleIdx="12" presStyleCnt="23"/>
      <dgm:spPr/>
    </dgm:pt>
    <dgm:pt modelId="{3468B4C6-C4F4-4590-9E56-35464FA2F82B}" type="pres">
      <dgm:prSet presAssocID="{2A761EA2-E205-4836-81B0-F019EC2C64EC}" presName="hierChild4" presStyleCnt="0"/>
      <dgm:spPr/>
    </dgm:pt>
    <dgm:pt modelId="{F3A9735E-B8A3-4753-B6F0-55EDD3324849}" type="pres">
      <dgm:prSet presAssocID="{2A761EA2-E205-4836-81B0-F019EC2C64EC}" presName="hierChild5" presStyleCnt="0"/>
      <dgm:spPr/>
    </dgm:pt>
    <dgm:pt modelId="{3AA59A54-575E-4550-8B2A-8AC8C518C2D0}" type="pres">
      <dgm:prSet presAssocID="{98426BE6-0A08-4251-864A-12910A54113B}" presName="Name37" presStyleLbl="parChTrans1D4" presStyleIdx="13" presStyleCnt="23"/>
      <dgm:spPr/>
    </dgm:pt>
    <dgm:pt modelId="{6F23BB86-01D9-4FA2-855E-0F726C05403C}" type="pres">
      <dgm:prSet presAssocID="{5707F1AD-8FAD-46DF-8294-64D7CA69B7FA}" presName="hierRoot2" presStyleCnt="0">
        <dgm:presLayoutVars>
          <dgm:hierBranch val="init"/>
        </dgm:presLayoutVars>
      </dgm:prSet>
      <dgm:spPr/>
    </dgm:pt>
    <dgm:pt modelId="{4D564190-68AC-4C6C-93D9-5888AEBA535F}" type="pres">
      <dgm:prSet presAssocID="{5707F1AD-8FAD-46DF-8294-64D7CA69B7FA}" presName="rootComposite" presStyleCnt="0"/>
      <dgm:spPr/>
    </dgm:pt>
    <dgm:pt modelId="{B1021DFA-FA95-459D-BF01-9F752CEA2459}" type="pres">
      <dgm:prSet presAssocID="{5707F1AD-8FAD-46DF-8294-64D7CA69B7FA}" presName="rootText" presStyleLbl="node4" presStyleIdx="13" presStyleCnt="23">
        <dgm:presLayoutVars>
          <dgm:chPref val="3"/>
        </dgm:presLayoutVars>
      </dgm:prSet>
      <dgm:spPr/>
    </dgm:pt>
    <dgm:pt modelId="{0059C62F-FB7E-4C2B-83B8-6059DCC5FEF4}" type="pres">
      <dgm:prSet presAssocID="{5707F1AD-8FAD-46DF-8294-64D7CA69B7FA}" presName="rootConnector" presStyleLbl="node4" presStyleIdx="13" presStyleCnt="23"/>
      <dgm:spPr/>
    </dgm:pt>
    <dgm:pt modelId="{71D1FC70-6453-4D20-BF40-2D9917A25D0C}" type="pres">
      <dgm:prSet presAssocID="{5707F1AD-8FAD-46DF-8294-64D7CA69B7FA}" presName="hierChild4" presStyleCnt="0"/>
      <dgm:spPr/>
    </dgm:pt>
    <dgm:pt modelId="{0FA0B279-C140-4ADE-A2D5-512CB8D04118}" type="pres">
      <dgm:prSet presAssocID="{5707F1AD-8FAD-46DF-8294-64D7CA69B7FA}" presName="hierChild5" presStyleCnt="0"/>
      <dgm:spPr/>
    </dgm:pt>
    <dgm:pt modelId="{5A26A813-4E7D-4C7C-B46A-DCC75B4E2BC1}" type="pres">
      <dgm:prSet presAssocID="{FC9BACEA-B48C-4D8E-888D-3E2C8D98149A}" presName="Name37" presStyleLbl="parChTrans1D4" presStyleIdx="14" presStyleCnt="23"/>
      <dgm:spPr/>
    </dgm:pt>
    <dgm:pt modelId="{18F52984-CF52-4197-AA08-31EA4AA34E73}" type="pres">
      <dgm:prSet presAssocID="{79DD03DD-E312-4717-91AB-E8E535E6A792}" presName="hierRoot2" presStyleCnt="0">
        <dgm:presLayoutVars>
          <dgm:hierBranch val="init"/>
        </dgm:presLayoutVars>
      </dgm:prSet>
      <dgm:spPr/>
    </dgm:pt>
    <dgm:pt modelId="{7BA7415C-1DB8-42AF-8B1C-67A12FD47559}" type="pres">
      <dgm:prSet presAssocID="{79DD03DD-E312-4717-91AB-E8E535E6A792}" presName="rootComposite" presStyleCnt="0"/>
      <dgm:spPr/>
    </dgm:pt>
    <dgm:pt modelId="{411B939B-CA8D-42F2-9237-884A761B99C7}" type="pres">
      <dgm:prSet presAssocID="{79DD03DD-E312-4717-91AB-E8E535E6A792}" presName="rootText" presStyleLbl="node4" presStyleIdx="14" presStyleCnt="23">
        <dgm:presLayoutVars>
          <dgm:chPref val="3"/>
        </dgm:presLayoutVars>
      </dgm:prSet>
      <dgm:spPr/>
    </dgm:pt>
    <dgm:pt modelId="{05990123-91C8-4078-910F-84DBB4BD61BE}" type="pres">
      <dgm:prSet presAssocID="{79DD03DD-E312-4717-91AB-E8E535E6A792}" presName="rootConnector" presStyleLbl="node4" presStyleIdx="14" presStyleCnt="23"/>
      <dgm:spPr/>
    </dgm:pt>
    <dgm:pt modelId="{E5888ABA-5111-484E-87B6-31F240121CC9}" type="pres">
      <dgm:prSet presAssocID="{79DD03DD-E312-4717-91AB-E8E535E6A792}" presName="hierChild4" presStyleCnt="0"/>
      <dgm:spPr/>
    </dgm:pt>
    <dgm:pt modelId="{4AEDB295-A96A-418D-8AFC-E85EB2F09197}" type="pres">
      <dgm:prSet presAssocID="{79DD03DD-E312-4717-91AB-E8E535E6A792}" presName="hierChild5" presStyleCnt="0"/>
      <dgm:spPr/>
    </dgm:pt>
    <dgm:pt modelId="{701A84C8-1A3D-43CD-A4A6-3853956BE1EE}" type="pres">
      <dgm:prSet presAssocID="{DAAAF051-89F7-4FE1-9EEC-976056B64CFB}" presName="hierChild5" presStyleCnt="0"/>
      <dgm:spPr/>
    </dgm:pt>
    <dgm:pt modelId="{92418032-8E20-485F-8805-50BA71082A60}" type="pres">
      <dgm:prSet presAssocID="{B0602058-1197-4BE6-9C76-72F957B406C1}" presName="Name37" presStyleLbl="parChTrans1D4" presStyleIdx="15" presStyleCnt="23"/>
      <dgm:spPr/>
    </dgm:pt>
    <dgm:pt modelId="{EE4E1629-A001-4495-BBE3-BCED3F6DE9D1}" type="pres">
      <dgm:prSet presAssocID="{3913C865-6E9D-4F48-B0AC-DB66360AB161}" presName="hierRoot2" presStyleCnt="0">
        <dgm:presLayoutVars>
          <dgm:hierBranch val="init"/>
        </dgm:presLayoutVars>
      </dgm:prSet>
      <dgm:spPr/>
    </dgm:pt>
    <dgm:pt modelId="{D40573E9-C86C-4708-BE67-9F76D437AD31}" type="pres">
      <dgm:prSet presAssocID="{3913C865-6E9D-4F48-B0AC-DB66360AB161}" presName="rootComposite" presStyleCnt="0"/>
      <dgm:spPr/>
    </dgm:pt>
    <dgm:pt modelId="{E060FA0A-299D-41EB-81B2-4FB6923B8E59}" type="pres">
      <dgm:prSet presAssocID="{3913C865-6E9D-4F48-B0AC-DB66360AB161}" presName="rootText" presStyleLbl="node4" presStyleIdx="15" presStyleCnt="23">
        <dgm:presLayoutVars>
          <dgm:chPref val="3"/>
        </dgm:presLayoutVars>
      </dgm:prSet>
      <dgm:spPr/>
    </dgm:pt>
    <dgm:pt modelId="{6B341FC9-A90F-461D-B748-FE2200498CFB}" type="pres">
      <dgm:prSet presAssocID="{3913C865-6E9D-4F48-B0AC-DB66360AB161}" presName="rootConnector" presStyleLbl="node4" presStyleIdx="15" presStyleCnt="23"/>
      <dgm:spPr/>
    </dgm:pt>
    <dgm:pt modelId="{B5E4BA40-A809-4A41-84F1-FE51E8872133}" type="pres">
      <dgm:prSet presAssocID="{3913C865-6E9D-4F48-B0AC-DB66360AB161}" presName="hierChild4" presStyleCnt="0"/>
      <dgm:spPr/>
    </dgm:pt>
    <dgm:pt modelId="{51599ED6-4B63-44D0-96DD-4ED365750D0F}" type="pres">
      <dgm:prSet presAssocID="{2109D80E-F23A-4E1A-BDBB-48215AF2024E}" presName="Name37" presStyleLbl="parChTrans1D4" presStyleIdx="16" presStyleCnt="23"/>
      <dgm:spPr/>
    </dgm:pt>
    <dgm:pt modelId="{451889E8-8C61-4F9C-9DC1-5705FE699C5F}" type="pres">
      <dgm:prSet presAssocID="{D3411042-B57A-41A4-88E8-0D4DF0DF110E}" presName="hierRoot2" presStyleCnt="0">
        <dgm:presLayoutVars>
          <dgm:hierBranch val="init"/>
        </dgm:presLayoutVars>
      </dgm:prSet>
      <dgm:spPr/>
    </dgm:pt>
    <dgm:pt modelId="{A5DC8DA7-9B06-46A8-9CDC-3D5D5145247E}" type="pres">
      <dgm:prSet presAssocID="{D3411042-B57A-41A4-88E8-0D4DF0DF110E}" presName="rootComposite" presStyleCnt="0"/>
      <dgm:spPr/>
    </dgm:pt>
    <dgm:pt modelId="{707E384A-0166-40E8-BC09-51D21E629430}" type="pres">
      <dgm:prSet presAssocID="{D3411042-B57A-41A4-88E8-0D4DF0DF110E}" presName="rootText" presStyleLbl="node4" presStyleIdx="16" presStyleCnt="23">
        <dgm:presLayoutVars>
          <dgm:chPref val="3"/>
        </dgm:presLayoutVars>
      </dgm:prSet>
      <dgm:spPr/>
    </dgm:pt>
    <dgm:pt modelId="{F1EB95CA-7638-425F-AD72-3FA818B678CE}" type="pres">
      <dgm:prSet presAssocID="{D3411042-B57A-41A4-88E8-0D4DF0DF110E}" presName="rootConnector" presStyleLbl="node4" presStyleIdx="16" presStyleCnt="23"/>
      <dgm:spPr/>
    </dgm:pt>
    <dgm:pt modelId="{8D8524BC-ED9E-4D26-BBC3-032F994F75BA}" type="pres">
      <dgm:prSet presAssocID="{D3411042-B57A-41A4-88E8-0D4DF0DF110E}" presName="hierChild4" presStyleCnt="0"/>
      <dgm:spPr/>
    </dgm:pt>
    <dgm:pt modelId="{D0840488-2CB5-46F7-8F07-C77247AF921E}" type="pres">
      <dgm:prSet presAssocID="{D3411042-B57A-41A4-88E8-0D4DF0DF110E}" presName="hierChild5" presStyleCnt="0"/>
      <dgm:spPr/>
    </dgm:pt>
    <dgm:pt modelId="{1DCCFC51-7331-48D1-8041-30007ED84642}" type="pres">
      <dgm:prSet presAssocID="{C1BDA1EF-5DA5-4AAD-AAB1-9B0DFFC51B57}" presName="Name37" presStyleLbl="parChTrans1D4" presStyleIdx="17" presStyleCnt="23"/>
      <dgm:spPr/>
    </dgm:pt>
    <dgm:pt modelId="{63A07131-0003-4C18-9A8A-61AFFD5F3B58}" type="pres">
      <dgm:prSet presAssocID="{FDF23FE7-99D6-46CC-9612-B3F15A6D8E04}" presName="hierRoot2" presStyleCnt="0">
        <dgm:presLayoutVars>
          <dgm:hierBranch val="init"/>
        </dgm:presLayoutVars>
      </dgm:prSet>
      <dgm:spPr/>
    </dgm:pt>
    <dgm:pt modelId="{CA33319E-59EE-4DB7-B540-299B95DB065B}" type="pres">
      <dgm:prSet presAssocID="{FDF23FE7-99D6-46CC-9612-B3F15A6D8E04}" presName="rootComposite" presStyleCnt="0"/>
      <dgm:spPr/>
    </dgm:pt>
    <dgm:pt modelId="{FDC9A1DD-925E-4747-B1B2-180007BFD7FC}" type="pres">
      <dgm:prSet presAssocID="{FDF23FE7-99D6-46CC-9612-B3F15A6D8E04}" presName="rootText" presStyleLbl="node4" presStyleIdx="17" presStyleCnt="23">
        <dgm:presLayoutVars>
          <dgm:chPref val="3"/>
        </dgm:presLayoutVars>
      </dgm:prSet>
      <dgm:spPr/>
    </dgm:pt>
    <dgm:pt modelId="{A86B640B-50FE-4D2E-BBC3-3ACA06100E26}" type="pres">
      <dgm:prSet presAssocID="{FDF23FE7-99D6-46CC-9612-B3F15A6D8E04}" presName="rootConnector" presStyleLbl="node4" presStyleIdx="17" presStyleCnt="23"/>
      <dgm:spPr/>
    </dgm:pt>
    <dgm:pt modelId="{BAB27FB0-68A6-4CEC-958B-C95BF0C37234}" type="pres">
      <dgm:prSet presAssocID="{FDF23FE7-99D6-46CC-9612-B3F15A6D8E04}" presName="hierChild4" presStyleCnt="0"/>
      <dgm:spPr/>
    </dgm:pt>
    <dgm:pt modelId="{616AF147-B40A-4D27-B2BB-5E8C82DC749A}" type="pres">
      <dgm:prSet presAssocID="{FDF23FE7-99D6-46CC-9612-B3F15A6D8E04}" presName="hierChild5" presStyleCnt="0"/>
      <dgm:spPr/>
    </dgm:pt>
    <dgm:pt modelId="{0D137469-BFA2-4F7E-ABC0-69DF396BDF41}" type="pres">
      <dgm:prSet presAssocID="{F1D03EB0-F3FF-4756-ACA2-F642EFB57A45}" presName="Name37" presStyleLbl="parChTrans1D4" presStyleIdx="18" presStyleCnt="23"/>
      <dgm:spPr/>
    </dgm:pt>
    <dgm:pt modelId="{D69C6367-02F1-4ED5-81F7-01AB9BB94847}" type="pres">
      <dgm:prSet presAssocID="{6889CB35-E56A-4065-A9B0-D7FEB6DC920C}" presName="hierRoot2" presStyleCnt="0">
        <dgm:presLayoutVars>
          <dgm:hierBranch val="init"/>
        </dgm:presLayoutVars>
      </dgm:prSet>
      <dgm:spPr/>
    </dgm:pt>
    <dgm:pt modelId="{B1212747-B278-4727-8DB5-D195F5C4D4F1}" type="pres">
      <dgm:prSet presAssocID="{6889CB35-E56A-4065-A9B0-D7FEB6DC920C}" presName="rootComposite" presStyleCnt="0"/>
      <dgm:spPr/>
    </dgm:pt>
    <dgm:pt modelId="{86776B51-7633-47EF-9436-8E84E12EAB15}" type="pres">
      <dgm:prSet presAssocID="{6889CB35-E56A-4065-A9B0-D7FEB6DC920C}" presName="rootText" presStyleLbl="node4" presStyleIdx="18" presStyleCnt="23">
        <dgm:presLayoutVars>
          <dgm:chPref val="3"/>
        </dgm:presLayoutVars>
      </dgm:prSet>
      <dgm:spPr/>
    </dgm:pt>
    <dgm:pt modelId="{EBA3902B-0066-4E27-A5B6-C977AE898D0F}" type="pres">
      <dgm:prSet presAssocID="{6889CB35-E56A-4065-A9B0-D7FEB6DC920C}" presName="rootConnector" presStyleLbl="node4" presStyleIdx="18" presStyleCnt="23"/>
      <dgm:spPr/>
    </dgm:pt>
    <dgm:pt modelId="{3DDEA176-37AA-4CFC-9283-9A4B4C5FFDEC}" type="pres">
      <dgm:prSet presAssocID="{6889CB35-E56A-4065-A9B0-D7FEB6DC920C}" presName="hierChild4" presStyleCnt="0"/>
      <dgm:spPr/>
    </dgm:pt>
    <dgm:pt modelId="{092C40CD-FF70-4884-9107-2D674F8F549E}" type="pres">
      <dgm:prSet presAssocID="{6889CB35-E56A-4065-A9B0-D7FEB6DC920C}" presName="hierChild5" presStyleCnt="0"/>
      <dgm:spPr/>
    </dgm:pt>
    <dgm:pt modelId="{36CA6486-F751-4979-8D2D-C64FB7D576B7}" type="pres">
      <dgm:prSet presAssocID="{3913C865-6E9D-4F48-B0AC-DB66360AB161}" presName="hierChild5" presStyleCnt="0"/>
      <dgm:spPr/>
    </dgm:pt>
    <dgm:pt modelId="{17D693B3-85E2-41C5-89EE-2FCFD404A5A1}" type="pres">
      <dgm:prSet presAssocID="{B2F31091-45D7-4AB9-8F57-65A84F08A2B5}" presName="Name37" presStyleLbl="parChTrans1D4" presStyleIdx="19" presStyleCnt="23"/>
      <dgm:spPr/>
    </dgm:pt>
    <dgm:pt modelId="{B78A7FB5-8119-476E-ABA1-6EAE0B891D6C}" type="pres">
      <dgm:prSet presAssocID="{131D1E18-57E0-4AD3-A823-77CC537F38DA}" presName="hierRoot2" presStyleCnt="0">
        <dgm:presLayoutVars>
          <dgm:hierBranch val="init"/>
        </dgm:presLayoutVars>
      </dgm:prSet>
      <dgm:spPr/>
    </dgm:pt>
    <dgm:pt modelId="{1C065E87-D2C6-428A-A389-9496BCB12C37}" type="pres">
      <dgm:prSet presAssocID="{131D1E18-57E0-4AD3-A823-77CC537F38DA}" presName="rootComposite" presStyleCnt="0"/>
      <dgm:spPr/>
    </dgm:pt>
    <dgm:pt modelId="{4A10340A-ECB6-40C6-9EA3-D4E95677B291}" type="pres">
      <dgm:prSet presAssocID="{131D1E18-57E0-4AD3-A823-77CC537F38DA}" presName="rootText" presStyleLbl="node4" presStyleIdx="19" presStyleCnt="23">
        <dgm:presLayoutVars>
          <dgm:chPref val="3"/>
        </dgm:presLayoutVars>
      </dgm:prSet>
      <dgm:spPr/>
    </dgm:pt>
    <dgm:pt modelId="{3F3BB1CC-87F6-4061-92BB-2476E625BF5A}" type="pres">
      <dgm:prSet presAssocID="{131D1E18-57E0-4AD3-A823-77CC537F38DA}" presName="rootConnector" presStyleLbl="node4" presStyleIdx="19" presStyleCnt="23"/>
      <dgm:spPr/>
    </dgm:pt>
    <dgm:pt modelId="{26DCBAC3-BCE8-4718-A613-FE0A05775CAB}" type="pres">
      <dgm:prSet presAssocID="{131D1E18-57E0-4AD3-A823-77CC537F38DA}" presName="hierChild4" presStyleCnt="0"/>
      <dgm:spPr/>
    </dgm:pt>
    <dgm:pt modelId="{628F8929-1691-45AA-BEA1-3C2D3E455544}" type="pres">
      <dgm:prSet presAssocID="{131D1E18-57E0-4AD3-A823-77CC537F38DA}" presName="hierChild5" presStyleCnt="0"/>
      <dgm:spPr/>
    </dgm:pt>
    <dgm:pt modelId="{D9249E9C-1838-4360-939A-8A6F90A5D090}" type="pres">
      <dgm:prSet presAssocID="{7A986BF1-5D42-42AC-97C9-61508A15C7D6}" presName="hierChild5" presStyleCnt="0"/>
      <dgm:spPr/>
    </dgm:pt>
    <dgm:pt modelId="{892868DE-FA3F-456B-9909-93FE86A72657}" type="pres">
      <dgm:prSet presAssocID="{4F12B914-2A21-4B9A-BCCA-0B4E9CFC9DBE}" presName="Name35" presStyleLbl="parChTrans1D3" presStyleIdx="2" presStyleCnt="5"/>
      <dgm:spPr/>
    </dgm:pt>
    <dgm:pt modelId="{0E216B59-E868-492C-BD11-4798F5EA1D95}" type="pres">
      <dgm:prSet presAssocID="{2B93744D-7D5D-4AAA-A9D4-065B183D1508}" presName="hierRoot2" presStyleCnt="0">
        <dgm:presLayoutVars>
          <dgm:hierBranch val="init"/>
        </dgm:presLayoutVars>
      </dgm:prSet>
      <dgm:spPr/>
    </dgm:pt>
    <dgm:pt modelId="{E14A9FF6-67F7-410C-BF12-CFA132B59700}" type="pres">
      <dgm:prSet presAssocID="{2B93744D-7D5D-4AAA-A9D4-065B183D1508}" presName="rootComposite" presStyleCnt="0"/>
      <dgm:spPr/>
    </dgm:pt>
    <dgm:pt modelId="{C51BF866-E3D8-4FC4-B274-A6EE0B240849}" type="pres">
      <dgm:prSet presAssocID="{2B93744D-7D5D-4AAA-A9D4-065B183D1508}" presName="rootText" presStyleLbl="node3" presStyleIdx="2" presStyleCnt="5">
        <dgm:presLayoutVars>
          <dgm:chPref val="3"/>
        </dgm:presLayoutVars>
      </dgm:prSet>
      <dgm:spPr/>
    </dgm:pt>
    <dgm:pt modelId="{9FC59AA9-3FB9-48CD-A049-2DE9A8B55DEA}" type="pres">
      <dgm:prSet presAssocID="{2B93744D-7D5D-4AAA-A9D4-065B183D1508}" presName="rootConnector" presStyleLbl="node3" presStyleIdx="2" presStyleCnt="5"/>
      <dgm:spPr/>
    </dgm:pt>
    <dgm:pt modelId="{6F0073A2-73A2-44F1-B906-37C2B7ACF91D}" type="pres">
      <dgm:prSet presAssocID="{2B93744D-7D5D-4AAA-A9D4-065B183D1508}" presName="hierChild4" presStyleCnt="0"/>
      <dgm:spPr/>
    </dgm:pt>
    <dgm:pt modelId="{84E53F8E-6E5B-403B-B889-B62778314B75}" type="pres">
      <dgm:prSet presAssocID="{27D14F18-8FB9-4BF4-9A2A-AFDDADBB4FAF}" presName="Name37" presStyleLbl="parChTrans1D4" presStyleIdx="20" presStyleCnt="23"/>
      <dgm:spPr/>
    </dgm:pt>
    <dgm:pt modelId="{899FBC9C-3940-47F5-ABC2-010AB6D400B7}" type="pres">
      <dgm:prSet presAssocID="{37708ABD-884F-48D5-8289-3217E85F5A01}" presName="hierRoot2" presStyleCnt="0">
        <dgm:presLayoutVars>
          <dgm:hierBranch val="init"/>
        </dgm:presLayoutVars>
      </dgm:prSet>
      <dgm:spPr/>
    </dgm:pt>
    <dgm:pt modelId="{F96F9467-0966-4B39-96F9-34CA5C0A823D}" type="pres">
      <dgm:prSet presAssocID="{37708ABD-884F-48D5-8289-3217E85F5A01}" presName="rootComposite" presStyleCnt="0"/>
      <dgm:spPr/>
    </dgm:pt>
    <dgm:pt modelId="{BEE4DAED-CBD4-4693-A8F1-DAE1E58BFF08}" type="pres">
      <dgm:prSet presAssocID="{37708ABD-884F-48D5-8289-3217E85F5A01}" presName="rootText" presStyleLbl="node4" presStyleIdx="20" presStyleCnt="23">
        <dgm:presLayoutVars>
          <dgm:chPref val="3"/>
        </dgm:presLayoutVars>
      </dgm:prSet>
      <dgm:spPr/>
    </dgm:pt>
    <dgm:pt modelId="{905E1A0E-62B5-41AC-806E-E4B1486D8B4A}" type="pres">
      <dgm:prSet presAssocID="{37708ABD-884F-48D5-8289-3217E85F5A01}" presName="rootConnector" presStyleLbl="node4" presStyleIdx="20" presStyleCnt="23"/>
      <dgm:spPr/>
    </dgm:pt>
    <dgm:pt modelId="{5DD70322-CA02-4852-A83F-850D0AEF9A16}" type="pres">
      <dgm:prSet presAssocID="{37708ABD-884F-48D5-8289-3217E85F5A01}" presName="hierChild4" presStyleCnt="0"/>
      <dgm:spPr/>
    </dgm:pt>
    <dgm:pt modelId="{DBF4D1F3-1E9F-4AAA-9505-4D25926A5DA7}" type="pres">
      <dgm:prSet presAssocID="{37708ABD-884F-48D5-8289-3217E85F5A01}" presName="hierChild5" presStyleCnt="0"/>
      <dgm:spPr/>
    </dgm:pt>
    <dgm:pt modelId="{5FD77B48-F092-41B0-9711-63E42E8C3D5D}" type="pres">
      <dgm:prSet presAssocID="{2B93744D-7D5D-4AAA-A9D4-065B183D1508}" presName="hierChild5" presStyleCnt="0"/>
      <dgm:spPr/>
    </dgm:pt>
    <dgm:pt modelId="{A0FA2BE3-C156-41E9-B6B1-FB6E8B146081}" type="pres">
      <dgm:prSet presAssocID="{536DBBFB-BD13-402F-8846-0A565BCC62DE}" presName="Name35" presStyleLbl="parChTrans1D3" presStyleIdx="3" presStyleCnt="5"/>
      <dgm:spPr/>
    </dgm:pt>
    <dgm:pt modelId="{55E97DE9-2658-46C3-AA7F-9081337C0CE6}" type="pres">
      <dgm:prSet presAssocID="{1C005291-6471-4DE9-8ACA-188D6EA50277}" presName="hierRoot2" presStyleCnt="0">
        <dgm:presLayoutVars>
          <dgm:hierBranch val="init"/>
        </dgm:presLayoutVars>
      </dgm:prSet>
      <dgm:spPr/>
    </dgm:pt>
    <dgm:pt modelId="{7278F037-FE75-42AF-A33B-E9EC1B5F55AE}" type="pres">
      <dgm:prSet presAssocID="{1C005291-6471-4DE9-8ACA-188D6EA50277}" presName="rootComposite" presStyleCnt="0"/>
      <dgm:spPr/>
    </dgm:pt>
    <dgm:pt modelId="{06DD17CA-236E-4859-BB61-E237B20DA056}" type="pres">
      <dgm:prSet presAssocID="{1C005291-6471-4DE9-8ACA-188D6EA50277}" presName="rootText" presStyleLbl="node3" presStyleIdx="3" presStyleCnt="5">
        <dgm:presLayoutVars>
          <dgm:chPref val="3"/>
        </dgm:presLayoutVars>
      </dgm:prSet>
      <dgm:spPr/>
    </dgm:pt>
    <dgm:pt modelId="{CE9B3F3F-0753-4FDB-8553-F978A8D06C9D}" type="pres">
      <dgm:prSet presAssocID="{1C005291-6471-4DE9-8ACA-188D6EA50277}" presName="rootConnector" presStyleLbl="node3" presStyleIdx="3" presStyleCnt="5"/>
      <dgm:spPr/>
    </dgm:pt>
    <dgm:pt modelId="{EBB02D9D-45D3-4AD4-B38C-03408A9E346F}" type="pres">
      <dgm:prSet presAssocID="{1C005291-6471-4DE9-8ACA-188D6EA50277}" presName="hierChild4" presStyleCnt="0"/>
      <dgm:spPr/>
    </dgm:pt>
    <dgm:pt modelId="{65644B6A-B35C-43AC-95BF-81D0FBD1F32B}" type="pres">
      <dgm:prSet presAssocID="{BC58642D-7B86-4D0C-967B-3220B680449E}" presName="Name37" presStyleLbl="parChTrans1D4" presStyleIdx="21" presStyleCnt="23"/>
      <dgm:spPr/>
    </dgm:pt>
    <dgm:pt modelId="{7AC2A668-A0FB-423F-9A56-63CAA6F66689}" type="pres">
      <dgm:prSet presAssocID="{1CBBF08E-D98E-492B-8D3F-ADAF3A9C9767}" presName="hierRoot2" presStyleCnt="0">
        <dgm:presLayoutVars>
          <dgm:hierBranch val="init"/>
        </dgm:presLayoutVars>
      </dgm:prSet>
      <dgm:spPr/>
    </dgm:pt>
    <dgm:pt modelId="{CC1AA8BF-4DFA-43C2-9E27-A03F4DD9DA5F}" type="pres">
      <dgm:prSet presAssocID="{1CBBF08E-D98E-492B-8D3F-ADAF3A9C9767}" presName="rootComposite" presStyleCnt="0"/>
      <dgm:spPr/>
    </dgm:pt>
    <dgm:pt modelId="{79D8400B-1F2F-4117-B29C-3D91FB785401}" type="pres">
      <dgm:prSet presAssocID="{1CBBF08E-D98E-492B-8D3F-ADAF3A9C9767}" presName="rootText" presStyleLbl="node4" presStyleIdx="21" presStyleCnt="23">
        <dgm:presLayoutVars>
          <dgm:chPref val="3"/>
        </dgm:presLayoutVars>
      </dgm:prSet>
      <dgm:spPr/>
    </dgm:pt>
    <dgm:pt modelId="{ECF11ACD-178D-4F8E-A3A2-41D0111A5926}" type="pres">
      <dgm:prSet presAssocID="{1CBBF08E-D98E-492B-8D3F-ADAF3A9C9767}" presName="rootConnector" presStyleLbl="node4" presStyleIdx="21" presStyleCnt="23"/>
      <dgm:spPr/>
    </dgm:pt>
    <dgm:pt modelId="{B28A5947-E463-4147-8E7E-7CA42B1ECFC7}" type="pres">
      <dgm:prSet presAssocID="{1CBBF08E-D98E-492B-8D3F-ADAF3A9C9767}" presName="hierChild4" presStyleCnt="0"/>
      <dgm:spPr/>
    </dgm:pt>
    <dgm:pt modelId="{BC47138C-998D-4630-A219-94AF01A1309F}" type="pres">
      <dgm:prSet presAssocID="{1CBBF08E-D98E-492B-8D3F-ADAF3A9C9767}" presName="hierChild5" presStyleCnt="0"/>
      <dgm:spPr/>
    </dgm:pt>
    <dgm:pt modelId="{F4CFEAEC-44C8-4006-A7C2-70AB8132E070}" type="pres">
      <dgm:prSet presAssocID="{1C005291-6471-4DE9-8ACA-188D6EA50277}" presName="hierChild5" presStyleCnt="0"/>
      <dgm:spPr/>
    </dgm:pt>
    <dgm:pt modelId="{9FDB9E89-80C5-4E4B-AA92-4CB2A56F7806}" type="pres">
      <dgm:prSet presAssocID="{9577CB04-FC7E-4D72-8F7A-6DFC3F0F0728}" presName="Name35" presStyleLbl="parChTrans1D3" presStyleIdx="4" presStyleCnt="5"/>
      <dgm:spPr/>
    </dgm:pt>
    <dgm:pt modelId="{A7D6FE18-1575-4240-A64B-3E6376A8D682}" type="pres">
      <dgm:prSet presAssocID="{3B1ABA91-4603-421E-AB7D-296675AE7AB2}" presName="hierRoot2" presStyleCnt="0">
        <dgm:presLayoutVars>
          <dgm:hierBranch val="init"/>
        </dgm:presLayoutVars>
      </dgm:prSet>
      <dgm:spPr/>
    </dgm:pt>
    <dgm:pt modelId="{A3B2D5CC-B27B-4EE5-9CE7-97A67E2221BE}" type="pres">
      <dgm:prSet presAssocID="{3B1ABA91-4603-421E-AB7D-296675AE7AB2}" presName="rootComposite" presStyleCnt="0"/>
      <dgm:spPr/>
    </dgm:pt>
    <dgm:pt modelId="{CF8F5B03-8EF0-4769-901F-CF9CC4C40B03}" type="pres">
      <dgm:prSet presAssocID="{3B1ABA91-4603-421E-AB7D-296675AE7AB2}" presName="rootText" presStyleLbl="node3" presStyleIdx="4" presStyleCnt="5">
        <dgm:presLayoutVars>
          <dgm:chPref val="3"/>
        </dgm:presLayoutVars>
      </dgm:prSet>
      <dgm:spPr/>
    </dgm:pt>
    <dgm:pt modelId="{BE33EC69-DCCE-4279-8661-23BCE426065B}" type="pres">
      <dgm:prSet presAssocID="{3B1ABA91-4603-421E-AB7D-296675AE7AB2}" presName="rootConnector" presStyleLbl="node3" presStyleIdx="4" presStyleCnt="5"/>
      <dgm:spPr/>
    </dgm:pt>
    <dgm:pt modelId="{6F1F71EF-9FD7-4EDD-8251-7211F4A734D5}" type="pres">
      <dgm:prSet presAssocID="{3B1ABA91-4603-421E-AB7D-296675AE7AB2}" presName="hierChild4" presStyleCnt="0"/>
      <dgm:spPr/>
    </dgm:pt>
    <dgm:pt modelId="{26D1566E-00D3-4A49-BDC7-44A0C7303108}" type="pres">
      <dgm:prSet presAssocID="{564173C8-0359-4831-9752-D8E5CC91383A}" presName="Name37" presStyleLbl="parChTrans1D4" presStyleIdx="22" presStyleCnt="23"/>
      <dgm:spPr/>
    </dgm:pt>
    <dgm:pt modelId="{0CC64AF7-5B33-4AC8-80CC-BB582E127653}" type="pres">
      <dgm:prSet presAssocID="{190D8B1D-8EA9-44B7-BD31-0DCCDFA9ADC2}" presName="hierRoot2" presStyleCnt="0">
        <dgm:presLayoutVars>
          <dgm:hierBranch val="init"/>
        </dgm:presLayoutVars>
      </dgm:prSet>
      <dgm:spPr/>
    </dgm:pt>
    <dgm:pt modelId="{0EBEC5C3-0750-4CA4-86FD-01248A64590F}" type="pres">
      <dgm:prSet presAssocID="{190D8B1D-8EA9-44B7-BD31-0DCCDFA9ADC2}" presName="rootComposite" presStyleCnt="0"/>
      <dgm:spPr/>
    </dgm:pt>
    <dgm:pt modelId="{40DEABB1-37CA-4056-AEA9-636FE8B18E08}" type="pres">
      <dgm:prSet presAssocID="{190D8B1D-8EA9-44B7-BD31-0DCCDFA9ADC2}" presName="rootText" presStyleLbl="node4" presStyleIdx="22" presStyleCnt="23">
        <dgm:presLayoutVars>
          <dgm:chPref val="3"/>
        </dgm:presLayoutVars>
      </dgm:prSet>
      <dgm:spPr/>
    </dgm:pt>
    <dgm:pt modelId="{EEB1F393-CB7B-457A-A38C-FA97613553A7}" type="pres">
      <dgm:prSet presAssocID="{190D8B1D-8EA9-44B7-BD31-0DCCDFA9ADC2}" presName="rootConnector" presStyleLbl="node4" presStyleIdx="22" presStyleCnt="23"/>
      <dgm:spPr/>
    </dgm:pt>
    <dgm:pt modelId="{3454EF20-30C5-4552-9B07-9D88C617FD92}" type="pres">
      <dgm:prSet presAssocID="{190D8B1D-8EA9-44B7-BD31-0DCCDFA9ADC2}" presName="hierChild4" presStyleCnt="0"/>
      <dgm:spPr/>
    </dgm:pt>
    <dgm:pt modelId="{01E15278-ECC8-4295-8AB3-3A3F8E1D3DED}" type="pres">
      <dgm:prSet presAssocID="{190D8B1D-8EA9-44B7-BD31-0DCCDFA9ADC2}" presName="hierChild5" presStyleCnt="0"/>
      <dgm:spPr/>
    </dgm:pt>
    <dgm:pt modelId="{4C40D3BD-9D39-4F1B-BE5A-6E06340FC034}" type="pres">
      <dgm:prSet presAssocID="{3B1ABA91-4603-421E-AB7D-296675AE7AB2}" presName="hierChild5" presStyleCnt="0"/>
      <dgm:spPr/>
    </dgm:pt>
    <dgm:pt modelId="{1DA138FB-A875-48C8-ACB9-70F4BB275716}" type="pres">
      <dgm:prSet presAssocID="{58135677-0A81-4361-B9C9-A005F11157E4}" presName="hierChild5" presStyleCnt="0"/>
      <dgm:spPr/>
    </dgm:pt>
    <dgm:pt modelId="{A5DB6C09-2874-4A40-B4CB-F0AD3E4490FB}" type="pres">
      <dgm:prSet presAssocID="{06002B94-D09E-435C-A5F9-59D3BEF8FC71}" presName="hierChild3" presStyleCnt="0"/>
      <dgm:spPr/>
    </dgm:pt>
  </dgm:ptLst>
  <dgm:cxnLst>
    <dgm:cxn modelId="{2AD40300-6A82-4C7F-AE80-66090CDADF21}" type="presOf" srcId="{1EDBB388-C7ED-4F47-AFA1-49017C082704}" destId="{EDC30AD0-1BF1-49DE-BBBF-050125F44676}" srcOrd="0" destOrd="0" presId="urn:microsoft.com/office/officeart/2005/8/layout/orgChart1"/>
    <dgm:cxn modelId="{CEB34D01-D043-462C-8604-28A189E1BC2A}" srcId="{58135677-0A81-4361-B9C9-A005F11157E4}" destId="{7A986BF1-5D42-42AC-97C9-61508A15C7D6}" srcOrd="1" destOrd="0" parTransId="{D64F388A-C0B3-409F-A358-94DADAAB1854}" sibTransId="{A7B8DEBD-11CB-40DF-B424-6B52C1C66245}"/>
    <dgm:cxn modelId="{EB30EA02-070C-43AA-983C-090342C9722C}" type="presOf" srcId="{37708ABD-884F-48D5-8289-3217E85F5A01}" destId="{905E1A0E-62B5-41AC-806E-E4B1486D8B4A}" srcOrd="1" destOrd="0" presId="urn:microsoft.com/office/officeart/2005/8/layout/orgChart1"/>
    <dgm:cxn modelId="{14122B04-B1D3-4129-8001-4DDBBF30B836}" srcId="{1C5ED702-6D00-4A1D-9C7A-436C60845140}" destId="{85E5C545-5700-4BFF-96E3-067421E43709}" srcOrd="2" destOrd="0" parTransId="{A238298E-3EEE-4A34-B98A-E7332B4FFAD1}" sibTransId="{43235AB0-1A99-433B-A7BB-5592F012536A}"/>
    <dgm:cxn modelId="{A1603F07-A424-4D22-843E-C20E4980AD5E}" type="presOf" srcId="{6889CB35-E56A-4065-A9B0-D7FEB6DC920C}" destId="{EBA3902B-0066-4E27-A5B6-C977AE898D0F}" srcOrd="1" destOrd="0" presId="urn:microsoft.com/office/officeart/2005/8/layout/orgChart1"/>
    <dgm:cxn modelId="{D1F10D0A-11CF-48B1-A70A-A8C733DD70C2}" type="presOf" srcId="{627B2C3E-2E5E-42E2-9BF9-31A8B335D95D}" destId="{14BD35A4-B0E3-4085-9410-A46734042A6B}" srcOrd="0" destOrd="0" presId="urn:microsoft.com/office/officeart/2005/8/layout/orgChart1"/>
    <dgm:cxn modelId="{2694F00F-F526-4DAC-BD29-C2928E1A23E1}" type="presOf" srcId="{3B1ABA91-4603-421E-AB7D-296675AE7AB2}" destId="{BE33EC69-DCCE-4279-8661-23BCE426065B}" srcOrd="1" destOrd="0" presId="urn:microsoft.com/office/officeart/2005/8/layout/orgChart1"/>
    <dgm:cxn modelId="{F5424D10-A589-459A-9649-AC2DED329501}" type="presOf" srcId="{33A68A52-6159-4DAE-B33E-2FF719C49558}" destId="{002AD001-EA03-4060-AE4E-EED9B0E8E8C5}" srcOrd="1" destOrd="0" presId="urn:microsoft.com/office/officeart/2005/8/layout/orgChart1"/>
    <dgm:cxn modelId="{C52BD913-BF64-4933-92A8-209624265CF0}" type="presOf" srcId="{1C005291-6471-4DE9-8ACA-188D6EA50277}" destId="{CE9B3F3F-0753-4FDB-8553-F978A8D06C9D}" srcOrd="1" destOrd="0" presId="urn:microsoft.com/office/officeart/2005/8/layout/orgChart1"/>
    <dgm:cxn modelId="{4CCB8414-5C7E-48B4-A57E-70A7A971A649}" type="presOf" srcId="{6889CB35-E56A-4065-A9B0-D7FEB6DC920C}" destId="{86776B51-7633-47EF-9436-8E84E12EAB15}" srcOrd="0" destOrd="0" presId="urn:microsoft.com/office/officeart/2005/8/layout/orgChart1"/>
    <dgm:cxn modelId="{359AFA14-4287-4F76-B694-B48A5C5CEAF6}" type="presOf" srcId="{FE922007-D0EF-49DB-B0DC-7D5928EC21F1}" destId="{E04B59F1-0AC2-4C67-9B95-FBF8C2AEAE1B}" srcOrd="0" destOrd="0" presId="urn:microsoft.com/office/officeart/2005/8/layout/orgChart1"/>
    <dgm:cxn modelId="{85FE2315-B69A-4ADF-AFCF-1B9EA04444BF}" srcId="{58135677-0A81-4361-B9C9-A005F11157E4}" destId="{2B93744D-7D5D-4AAA-A9D4-065B183D1508}" srcOrd="2" destOrd="0" parTransId="{4F12B914-2A21-4B9A-BCCA-0B4E9CFC9DBE}" sibTransId="{C5C61659-B650-49D2-92E0-0CB04718A199}"/>
    <dgm:cxn modelId="{094AB916-B195-4857-BA66-816F539E954C}" type="presOf" srcId="{35276BF8-A74A-468D-873C-DBC02263A51E}" destId="{901B3078-2251-40B5-B048-64F4648E7EA1}" srcOrd="0" destOrd="0" presId="urn:microsoft.com/office/officeart/2005/8/layout/orgChart1"/>
    <dgm:cxn modelId="{D8336E17-1743-4EEE-97B5-85176EAF6B59}" srcId="{58135677-0A81-4361-B9C9-A005F11157E4}" destId="{3B1ABA91-4603-421E-AB7D-296675AE7AB2}" srcOrd="4" destOrd="0" parTransId="{9577CB04-FC7E-4D72-8F7A-6DFC3F0F0728}" sibTransId="{05F1A9D6-528A-4C97-B9A7-D1390CCEE2C5}"/>
    <dgm:cxn modelId="{28AC0D1B-1C04-47CA-81AE-E7BF717C33A1}" type="presOf" srcId="{1A09EF79-2F34-4D48-9D45-887EDCC7FCA1}" destId="{9BF330ED-773F-45AE-BFF2-2A9E6324428E}" srcOrd="0" destOrd="0" presId="urn:microsoft.com/office/officeart/2005/8/layout/orgChart1"/>
    <dgm:cxn modelId="{25CF9C1B-2FE5-494D-97D8-59A6FF3A9531}" type="presOf" srcId="{1CBBF08E-D98E-492B-8D3F-ADAF3A9C9767}" destId="{79D8400B-1F2F-4117-B29C-3D91FB785401}" srcOrd="0" destOrd="0" presId="urn:microsoft.com/office/officeart/2005/8/layout/orgChart1"/>
    <dgm:cxn modelId="{AEE7D220-3661-4E2E-AFD6-6F1B5A63AF86}" type="presOf" srcId="{5707F1AD-8FAD-46DF-8294-64D7CA69B7FA}" destId="{B1021DFA-FA95-459D-BF01-9F752CEA2459}" srcOrd="0" destOrd="0" presId="urn:microsoft.com/office/officeart/2005/8/layout/orgChart1"/>
    <dgm:cxn modelId="{F58A5D25-099F-4D62-A583-579360CA923F}" type="presOf" srcId="{190D8B1D-8EA9-44B7-BD31-0DCCDFA9ADC2}" destId="{40DEABB1-37CA-4056-AEA9-636FE8B18E08}" srcOrd="0" destOrd="0" presId="urn:microsoft.com/office/officeart/2005/8/layout/orgChart1"/>
    <dgm:cxn modelId="{0C619B26-96F4-4431-ACB5-1E4779DF6FBE}" type="presOf" srcId="{2CB46D88-A37E-4B7C-A4D0-EE01A2D063D2}" destId="{BB9456C3-1730-4153-BAC1-76A7B7DE168E}" srcOrd="0" destOrd="0" presId="urn:microsoft.com/office/officeart/2005/8/layout/orgChart1"/>
    <dgm:cxn modelId="{0F7A1F27-7202-417D-8C04-6041941135ED}" srcId="{DAAAF051-89F7-4FE1-9EEC-976056B64CFB}" destId="{79DD03DD-E312-4717-91AB-E8E535E6A792}" srcOrd="2" destOrd="0" parTransId="{FC9BACEA-B48C-4D8E-888D-3E2C8D98149A}" sibTransId="{3F0C95B8-512D-46E5-9C9E-FC0E94D022A4}"/>
    <dgm:cxn modelId="{0A022E27-30E7-49AF-92D9-A974C39E39D0}" type="presOf" srcId="{FDF23FE7-99D6-46CC-9612-B3F15A6D8E04}" destId="{FDC9A1DD-925E-4747-B1B2-180007BFD7FC}" srcOrd="0" destOrd="0" presId="urn:microsoft.com/office/officeart/2005/8/layout/orgChart1"/>
    <dgm:cxn modelId="{333EF22B-1426-4D87-A095-0FA1569ADF71}" srcId="{F44A1BDD-EE53-4FA6-A4D3-0B829201FF10}" destId="{35276BF8-A74A-468D-873C-DBC02263A51E}" srcOrd="3" destOrd="0" parTransId="{5357A782-4AA4-4718-8F33-A7151D18ACA4}" sibTransId="{4B62BB13-12CE-42C0-9C86-A45EF725D9E2}"/>
    <dgm:cxn modelId="{53BB292C-E3C8-4FA8-BB23-41597A331552}" srcId="{DAAAF051-89F7-4FE1-9EEC-976056B64CFB}" destId="{5707F1AD-8FAD-46DF-8294-64D7CA69B7FA}" srcOrd="1" destOrd="0" parTransId="{98426BE6-0A08-4251-864A-12910A54113B}" sibTransId="{E66F2CF9-038B-4BA8-8B75-AA2B7393DC53}"/>
    <dgm:cxn modelId="{2E15A62C-7F7C-4427-B794-B21B2A99B468}" type="presOf" srcId="{D64F388A-C0B3-409F-A358-94DADAAB1854}" destId="{DDE103C2-4CA4-447B-AE83-5860DCE92497}" srcOrd="0" destOrd="0" presId="urn:microsoft.com/office/officeart/2005/8/layout/orgChart1"/>
    <dgm:cxn modelId="{0347232F-E92C-4F7B-8D88-412CC114831F}" type="presOf" srcId="{F1D03EB0-F3FF-4756-ACA2-F642EFB57A45}" destId="{0D137469-BFA2-4F7E-ABC0-69DF396BDF41}" srcOrd="0" destOrd="0" presId="urn:microsoft.com/office/officeart/2005/8/layout/orgChart1"/>
    <dgm:cxn modelId="{B8A52E3A-5311-4D24-9C5A-D99126562265}" type="presOf" srcId="{35276BF8-A74A-468D-873C-DBC02263A51E}" destId="{ABDF2FD1-1E0C-434E-AE15-E15860706D31}" srcOrd="1" destOrd="0" presId="urn:microsoft.com/office/officeart/2005/8/layout/orgChart1"/>
    <dgm:cxn modelId="{6B23F53E-3527-4D01-B52D-F399F28F23F3}" type="presOf" srcId="{1CBBF08E-D98E-492B-8D3F-ADAF3A9C9767}" destId="{ECF11ACD-178D-4F8E-A3A2-41D0111A5926}" srcOrd="1" destOrd="0" presId="urn:microsoft.com/office/officeart/2005/8/layout/orgChart1"/>
    <dgm:cxn modelId="{8D000140-0B27-419A-AEF9-3F201EA41A1D}" type="presOf" srcId="{2B93744D-7D5D-4AAA-A9D4-065B183D1508}" destId="{9FC59AA9-3FB9-48CD-A049-2DE9A8B55DEA}" srcOrd="1" destOrd="0" presId="urn:microsoft.com/office/officeart/2005/8/layout/orgChart1"/>
    <dgm:cxn modelId="{46983940-783C-4773-B1D7-7DAE325A87D1}" srcId="{5C7BC345-B12F-49C2-87CA-37D3378B1C6C}" destId="{401115A0-4D38-46A8-B3C5-D7E892CAAD5B}" srcOrd="2" destOrd="0" parTransId="{627B2C3E-2E5E-42E2-9BF9-31A8B335D95D}" sibTransId="{055A4AB0-CFB1-4DA5-8322-C13C6A5A9BAA}"/>
    <dgm:cxn modelId="{544F285F-15BB-42E1-AA33-C48BECABC380}" srcId="{5C7BC345-B12F-49C2-87CA-37D3378B1C6C}" destId="{607D7892-2569-4A31-BE0E-822482C37F3D}" srcOrd="1" destOrd="0" parTransId="{60819F5D-1058-4309-8330-F01818CD4500}" sibTransId="{CA0F073D-6DD8-4708-B741-F352F4696726}"/>
    <dgm:cxn modelId="{AC380060-FAAE-4895-8C01-D0C9FB4B69FA}" type="presOf" srcId="{F44A1BDD-EE53-4FA6-A4D3-0B829201FF10}" destId="{E5C5F92F-6F25-462F-AF8F-6112574BA167}" srcOrd="0" destOrd="0" presId="urn:microsoft.com/office/officeart/2005/8/layout/orgChart1"/>
    <dgm:cxn modelId="{72D95861-0D02-4653-AF62-2EB0F45718E9}" type="presOf" srcId="{D3411042-B57A-41A4-88E8-0D4DF0DF110E}" destId="{707E384A-0166-40E8-BC09-51D21E629430}" srcOrd="0" destOrd="0" presId="urn:microsoft.com/office/officeart/2005/8/layout/orgChart1"/>
    <dgm:cxn modelId="{EEA14464-F72D-4C91-967B-AFED44BC35CF}" srcId="{1C5ED702-6D00-4A1D-9C7A-436C60845140}" destId="{5C7BC345-B12F-49C2-87CA-37D3378B1C6C}" srcOrd="0" destOrd="0" parTransId="{FE922007-D0EF-49DB-B0DC-7D5928EC21F1}" sibTransId="{FE337125-7638-4C49-96A3-C936F78FC012}"/>
    <dgm:cxn modelId="{09089046-6B03-4C5F-980E-886288D14CF9}" type="presOf" srcId="{24DEFE67-353B-4E4C-BB64-48170CA6D166}" destId="{00ED9990-A0CC-4608-9427-1ECE9162B7E7}" srcOrd="0" destOrd="0" presId="urn:microsoft.com/office/officeart/2005/8/layout/orgChart1"/>
    <dgm:cxn modelId="{AD9E9646-56FB-4A67-B067-C66E3F358653}" type="presOf" srcId="{131D1E18-57E0-4AD3-A823-77CC537F38DA}" destId="{4A10340A-ECB6-40C6-9EA3-D4E95677B291}" srcOrd="0" destOrd="0" presId="urn:microsoft.com/office/officeart/2005/8/layout/orgChart1"/>
    <dgm:cxn modelId="{E20DA947-3C3A-4F0C-A5EE-AF1045C7A9BF}" type="presOf" srcId="{79DD03DD-E312-4717-91AB-E8E535E6A792}" destId="{411B939B-CA8D-42F2-9237-884A761B99C7}" srcOrd="0" destOrd="0" presId="urn:microsoft.com/office/officeart/2005/8/layout/orgChart1"/>
    <dgm:cxn modelId="{40194768-C308-4056-94A3-88745EFABD03}" type="presOf" srcId="{5357A782-4AA4-4718-8F33-A7151D18ACA4}" destId="{0D1E12E0-9EC4-420E-8447-34C8E5655286}" srcOrd="0" destOrd="0" presId="urn:microsoft.com/office/officeart/2005/8/layout/orgChart1"/>
    <dgm:cxn modelId="{1DB6DA49-CD54-4094-A072-7C5BB454FC2D}" type="presOf" srcId="{27D14F18-8FB9-4BF4-9A2A-AFDDADBB4FAF}" destId="{84E53F8E-6E5B-403B-B889-B62778314B75}" srcOrd="0" destOrd="0" presId="urn:microsoft.com/office/officeart/2005/8/layout/orgChart1"/>
    <dgm:cxn modelId="{E440FF4A-921B-41D4-9505-DE37F41E7F92}" type="presOf" srcId="{11A47870-75E9-4C3F-892B-448E73141CBD}" destId="{50F93FED-FAD8-4246-8380-95E5FD1CAFCF}" srcOrd="0" destOrd="0" presId="urn:microsoft.com/office/officeart/2005/8/layout/orgChart1"/>
    <dgm:cxn modelId="{D0AFD86B-F17E-40CC-99ED-513EB5EE6F52}" srcId="{F44A1BDD-EE53-4FA6-A4D3-0B829201FF10}" destId="{1A09EF79-2F34-4D48-9D45-887EDCC7FCA1}" srcOrd="0" destOrd="0" parTransId="{259E44B6-650C-464D-A315-0E0EC8C2618D}" sibTransId="{EEF55274-BCF1-4AE1-B228-BF3DF89E7C75}"/>
    <dgm:cxn modelId="{4487E66B-2CB8-467A-83C2-7D25A2932546}" type="presOf" srcId="{3B1ABA91-4603-421E-AB7D-296675AE7AB2}" destId="{CF8F5B03-8EF0-4769-901F-CF9CC4C40B03}" srcOrd="0" destOrd="0" presId="urn:microsoft.com/office/officeart/2005/8/layout/orgChart1"/>
    <dgm:cxn modelId="{79F4CF4C-DC25-45E9-BCEB-C60324C4EB40}" type="presOf" srcId="{85E5C545-5700-4BFF-96E3-067421E43709}" destId="{2B9A1528-98E5-4569-A97E-BFDD511ED2EE}" srcOrd="0" destOrd="0" presId="urn:microsoft.com/office/officeart/2005/8/layout/orgChart1"/>
    <dgm:cxn modelId="{DB002C6D-2990-412A-83F8-957E1EF816E5}" type="presOf" srcId="{11A47870-75E9-4C3F-892B-448E73141CBD}" destId="{CDD983B0-8FE9-496E-A348-1717DA1A98BF}" srcOrd="1" destOrd="0" presId="urn:microsoft.com/office/officeart/2005/8/layout/orgChart1"/>
    <dgm:cxn modelId="{CC929D6E-A01A-432D-A61E-9123BF004D15}" type="presOf" srcId="{401115A0-4D38-46A8-B3C5-D7E892CAAD5B}" destId="{1FB57A76-326D-4FDB-B50C-BD51CD959EAF}" srcOrd="1" destOrd="0" presId="urn:microsoft.com/office/officeart/2005/8/layout/orgChart1"/>
    <dgm:cxn modelId="{B8CAEB6F-67CB-499D-B9E8-C925A81A796D}" type="presOf" srcId="{DAAAF051-89F7-4FE1-9EEC-976056B64CFB}" destId="{73E3B1CC-C012-4D44-9DD8-0993C59B7564}" srcOrd="1" destOrd="0" presId="urn:microsoft.com/office/officeart/2005/8/layout/orgChart1"/>
    <dgm:cxn modelId="{78388250-53D9-4284-9305-869D61F0D0DD}" type="presOf" srcId="{58135677-0A81-4361-B9C9-A005F11157E4}" destId="{5C13A3CF-5101-4405-863A-A3E2CCBB22AB}" srcOrd="0" destOrd="0" presId="urn:microsoft.com/office/officeart/2005/8/layout/orgChart1"/>
    <dgm:cxn modelId="{1911B972-50D4-484C-BA0D-E1094E1524D2}" type="presOf" srcId="{9577CB04-FC7E-4D72-8F7A-6DFC3F0F0728}" destId="{9FDB9E89-80C5-4E4B-AA92-4CB2A56F7806}" srcOrd="0" destOrd="0" presId="urn:microsoft.com/office/officeart/2005/8/layout/orgChart1"/>
    <dgm:cxn modelId="{E89A2975-6AC2-48AE-A1CA-432C81388E36}" type="presOf" srcId="{1A09EF79-2F34-4D48-9D45-887EDCC7FCA1}" destId="{167A7ED0-4FDF-40D2-91CA-2E110C90DA5F}" srcOrd="1" destOrd="0" presId="urn:microsoft.com/office/officeart/2005/8/layout/orgChart1"/>
    <dgm:cxn modelId="{8ED50C56-2B1D-4AF0-93F1-423B6036F341}" type="presOf" srcId="{190D8B1D-8EA9-44B7-BD31-0DCCDFA9ADC2}" destId="{EEB1F393-CB7B-457A-A38C-FA97613553A7}" srcOrd="1" destOrd="0" presId="urn:microsoft.com/office/officeart/2005/8/layout/orgChart1"/>
    <dgm:cxn modelId="{7080F656-BD51-4D2E-8C96-C22605004898}" type="presOf" srcId="{0FE97F07-166E-4646-8F3F-713BE98FF8D3}" destId="{21DFCF00-BA3A-442D-A302-E8B9B273D4D7}" srcOrd="0" destOrd="0" presId="urn:microsoft.com/office/officeart/2005/8/layout/orgChart1"/>
    <dgm:cxn modelId="{C653577A-1976-438E-B2FC-5285E35D1D40}" type="presOf" srcId="{607D7892-2569-4A31-BE0E-822482C37F3D}" destId="{B28B4B3E-A788-4769-AA87-46CAA76CAEA8}" srcOrd="1" destOrd="0" presId="urn:microsoft.com/office/officeart/2005/8/layout/orgChart1"/>
    <dgm:cxn modelId="{6016477E-9758-4E12-8BE3-BC4EBD64279D}" srcId="{7A986BF1-5D42-42AC-97C9-61508A15C7D6}" destId="{DAAAF051-89F7-4FE1-9EEC-976056B64CFB}" srcOrd="0" destOrd="0" parTransId="{5D9A5639-78F5-48AE-945F-B3918B713637}" sibTransId="{2E8C4EF5-00F0-49CF-AD42-CFB449D0DF6F}"/>
    <dgm:cxn modelId="{44D7597E-993C-42B2-AD1B-8CBB34ABD9A1}" type="presOf" srcId="{60819F5D-1058-4309-8330-F01818CD4500}" destId="{05FA96D6-E130-46C9-A75C-1D864AAA16EB}" srcOrd="0" destOrd="0" presId="urn:microsoft.com/office/officeart/2005/8/layout/orgChart1"/>
    <dgm:cxn modelId="{7BAD077F-FBDA-4934-858C-AE7C895011EF}" type="presOf" srcId="{564173C8-0359-4831-9752-D8E5CC91383A}" destId="{26D1566E-00D3-4A49-BDC7-44A0C7303108}" srcOrd="0" destOrd="0" presId="urn:microsoft.com/office/officeart/2005/8/layout/orgChart1"/>
    <dgm:cxn modelId="{D2202081-3E30-4CE3-8102-9018A5168F50}" srcId="{3913C865-6E9D-4F48-B0AC-DB66360AB161}" destId="{6889CB35-E56A-4065-A9B0-D7FEB6DC920C}" srcOrd="2" destOrd="0" parTransId="{F1D03EB0-F3FF-4756-ACA2-F642EFB57A45}" sibTransId="{3344CB1D-7D17-41B3-96A7-1DDE6DFBCCA6}"/>
    <dgm:cxn modelId="{143A8684-F344-4360-B9E6-965738C3CC73}" type="presOf" srcId="{98426BE6-0A08-4251-864A-12910A54113B}" destId="{3AA59A54-575E-4550-8B2A-8AC8C518C2D0}" srcOrd="0" destOrd="0" presId="urn:microsoft.com/office/officeart/2005/8/layout/orgChart1"/>
    <dgm:cxn modelId="{93AA2185-BE6A-4A68-823D-D710DB6D0EA1}" srcId="{3913C865-6E9D-4F48-B0AC-DB66360AB161}" destId="{D3411042-B57A-41A4-88E8-0D4DF0DF110E}" srcOrd="0" destOrd="0" parTransId="{2109D80E-F23A-4E1A-BDBB-48215AF2024E}" sibTransId="{44187CF1-681D-4776-BFB5-C40CBDC7CEB2}"/>
    <dgm:cxn modelId="{72D85B86-B259-42DF-A777-7B74A01FB7A3}" type="presOf" srcId="{B2F31091-45D7-4AB9-8F57-65A84F08A2B5}" destId="{17D693B3-85E2-41C5-89EE-2FCFD404A5A1}" srcOrd="0" destOrd="0" presId="urn:microsoft.com/office/officeart/2005/8/layout/orgChart1"/>
    <dgm:cxn modelId="{A1797E86-96D9-46FC-89A3-2CEF122D52AF}" type="presOf" srcId="{33A68A52-6159-4DAE-B33E-2FF719C49558}" destId="{E5A8D694-AD1C-4826-86E7-9D6DCB9E1BCF}" srcOrd="0" destOrd="0" presId="urn:microsoft.com/office/officeart/2005/8/layout/orgChart1"/>
    <dgm:cxn modelId="{7B8B4B88-D7B4-4EFB-A45D-60877B6D5ADB}" type="presOf" srcId="{FDF23FE7-99D6-46CC-9612-B3F15A6D8E04}" destId="{A86B640B-50FE-4D2E-BBC3-3ACA06100E26}" srcOrd="1" destOrd="0" presId="urn:microsoft.com/office/officeart/2005/8/layout/orgChart1"/>
    <dgm:cxn modelId="{DDE54889-79E0-4022-98AE-ABEFD277AC2F}" type="presOf" srcId="{2A761EA2-E205-4836-81B0-F019EC2C64EC}" destId="{643E314E-EA7C-4D66-9F1B-C22FCC401F1F}" srcOrd="1" destOrd="0" presId="urn:microsoft.com/office/officeart/2005/8/layout/orgChart1"/>
    <dgm:cxn modelId="{C0C70E8D-9F04-472E-8162-02AD0AE082D1}" srcId="{0FE97F07-166E-4646-8F3F-713BE98FF8D3}" destId="{06002B94-D09E-435C-A5F9-59D3BEF8FC71}" srcOrd="0" destOrd="0" parTransId="{187FCC7C-B3F3-47E0-9469-7908E98C35FA}" sibTransId="{4E74CEF0-454A-4E7B-ADC8-EEA7E2B8954C}"/>
    <dgm:cxn modelId="{1C2C928D-1B05-4B2B-88B8-AE91091DA785}" srcId="{58135677-0A81-4361-B9C9-A005F11157E4}" destId="{1C5ED702-6D00-4A1D-9C7A-436C60845140}" srcOrd="0" destOrd="0" parTransId="{24DEFE67-353B-4E4C-BB64-48170CA6D166}" sibTransId="{5BFD32FE-4E9A-4689-9FDC-2806610433E3}"/>
    <dgm:cxn modelId="{4F1E9F8D-B308-4C1D-9DD3-BF16850E0232}" type="presOf" srcId="{7DB54FCA-DCE7-4972-AF17-E6160395D967}" destId="{AF4C31F8-A271-48CF-BCCC-51BE3B598757}" srcOrd="0" destOrd="0" presId="urn:microsoft.com/office/officeart/2005/8/layout/orgChart1"/>
    <dgm:cxn modelId="{1483A88D-C357-489C-ADF3-CB803EE51531}" type="presOf" srcId="{1D791ABE-2EA9-46CA-9A1A-D7360B8B3BD4}" destId="{F6E89310-FC42-4CFC-AF78-B4FFFB7E26DF}" srcOrd="0" destOrd="0" presId="urn:microsoft.com/office/officeart/2005/8/layout/orgChart1"/>
    <dgm:cxn modelId="{FFBAEB8E-DDC6-4509-A399-F00DE9AE8C6F}" type="presOf" srcId="{2CB46D88-A37E-4B7C-A4D0-EE01A2D063D2}" destId="{D985CD73-610D-4AD1-8D26-E8075C757933}" srcOrd="1" destOrd="0" presId="urn:microsoft.com/office/officeart/2005/8/layout/orgChart1"/>
    <dgm:cxn modelId="{C34F078F-A6C4-4DC6-9FA2-4B34D0FEC3D2}" type="presOf" srcId="{37708ABD-884F-48D5-8289-3217E85F5A01}" destId="{BEE4DAED-CBD4-4693-A8F1-DAE1E58BFF08}" srcOrd="0" destOrd="0" presId="urn:microsoft.com/office/officeart/2005/8/layout/orgChart1"/>
    <dgm:cxn modelId="{6A82BD8F-3CF9-42D2-A59D-DA1F1FCD6DAA}" srcId="{58135677-0A81-4361-B9C9-A005F11157E4}" destId="{1C005291-6471-4DE9-8ACA-188D6EA50277}" srcOrd="3" destOrd="0" parTransId="{536DBBFB-BD13-402F-8846-0A565BCC62DE}" sibTransId="{2E6787E8-694E-4457-B054-9850889B21DA}"/>
    <dgm:cxn modelId="{D7272790-42E8-4B4B-9F87-9EEE6EF70411}" srcId="{F44A1BDD-EE53-4FA6-A4D3-0B829201FF10}" destId="{26191A03-3627-4E26-AC2F-FFD548AF77D1}" srcOrd="1" destOrd="0" parTransId="{3070FEAF-E714-4809-86DA-9D9DC615893B}" sibTransId="{9E01997C-7A21-4C58-B175-BD8FFF5F622A}"/>
    <dgm:cxn modelId="{2C8D3090-AAD7-458A-A6E9-F0E52C54277E}" type="presOf" srcId="{06002B94-D09E-435C-A5F9-59D3BEF8FC71}" destId="{9F3F7C96-9EB6-4B0C-996D-E8AFB782C371}" srcOrd="1" destOrd="0" presId="urn:microsoft.com/office/officeart/2005/8/layout/orgChart1"/>
    <dgm:cxn modelId="{B0303393-E3DB-4301-BA3B-AA5088F1B4A3}" srcId="{2B93744D-7D5D-4AAA-A9D4-065B183D1508}" destId="{37708ABD-884F-48D5-8289-3217E85F5A01}" srcOrd="0" destOrd="0" parTransId="{27D14F18-8FB9-4BF4-9A2A-AFDDADBB4FAF}" sibTransId="{24D5740F-2A35-42CD-87AF-EB507AB17941}"/>
    <dgm:cxn modelId="{70304B93-D6D4-492C-9EFB-A500B2FE08CF}" type="presOf" srcId="{BE5A2021-5D71-4F6D-9B0F-CEFD2D18CB1F}" destId="{62745C3C-8409-4F96-ACA1-A05ED7E3E9BC}" srcOrd="0" destOrd="0" presId="urn:microsoft.com/office/officeart/2005/8/layout/orgChart1"/>
    <dgm:cxn modelId="{9700F493-A30D-4A69-958D-F7D29A23AACD}" type="presOf" srcId="{1C005291-6471-4DE9-8ACA-188D6EA50277}" destId="{06DD17CA-236E-4859-BB61-E237B20DA056}" srcOrd="0" destOrd="0" presId="urn:microsoft.com/office/officeart/2005/8/layout/orgChart1"/>
    <dgm:cxn modelId="{51847297-22AF-4831-99B2-9E6AFB0FB2F9}" type="presOf" srcId="{26191A03-3627-4E26-AC2F-FFD548AF77D1}" destId="{1C363F96-B440-42B6-A547-56600F95A979}" srcOrd="0" destOrd="0" presId="urn:microsoft.com/office/officeart/2005/8/layout/orgChart1"/>
    <dgm:cxn modelId="{60FA1F9A-0D89-429D-A24E-2BD50B166BD1}" type="presOf" srcId="{536DBBFB-BD13-402F-8846-0A565BCC62DE}" destId="{A0FA2BE3-C156-41E9-B6B1-FB6E8B146081}" srcOrd="0" destOrd="0" presId="urn:microsoft.com/office/officeart/2005/8/layout/orgChart1"/>
    <dgm:cxn modelId="{9A03C59A-B13F-4847-AD84-8ACD1C6E1954}" type="presOf" srcId="{D3411042-B57A-41A4-88E8-0D4DF0DF110E}" destId="{F1EB95CA-7638-425F-AD72-3FA818B678CE}" srcOrd="1" destOrd="0" presId="urn:microsoft.com/office/officeart/2005/8/layout/orgChart1"/>
    <dgm:cxn modelId="{0FCE829B-287C-47DA-8419-97AC9F473B50}" type="presOf" srcId="{58135677-0A81-4361-B9C9-A005F11157E4}" destId="{9A1EC101-B2CE-405F-9790-44F992781CFD}" srcOrd="1" destOrd="0" presId="urn:microsoft.com/office/officeart/2005/8/layout/orgChart1"/>
    <dgm:cxn modelId="{92923C9D-9E8A-4826-9794-C9026D367228}" type="presOf" srcId="{3913C865-6E9D-4F48-B0AC-DB66360AB161}" destId="{6B341FC9-A90F-461D-B748-FE2200498CFB}" srcOrd="1" destOrd="0" presId="urn:microsoft.com/office/officeart/2005/8/layout/orgChart1"/>
    <dgm:cxn modelId="{CE163EA0-061B-43BF-BE7A-5687364F7D9C}" type="presOf" srcId="{1C5ED702-6D00-4A1D-9C7A-436C60845140}" destId="{8CC729E0-048C-4A38-B2A1-88086D3534AD}" srcOrd="0" destOrd="0" presId="urn:microsoft.com/office/officeart/2005/8/layout/orgChart1"/>
    <dgm:cxn modelId="{4A5B5EA0-5177-45F3-A076-58519F043E90}" type="presOf" srcId="{1C5ED702-6D00-4A1D-9C7A-436C60845140}" destId="{ABBEBFB4-6AC5-4350-B24F-31FE8D5C42C9}" srcOrd="1" destOrd="0" presId="urn:microsoft.com/office/officeart/2005/8/layout/orgChart1"/>
    <dgm:cxn modelId="{F800AEA0-7F9A-4A6A-8CC1-623250810E5E}" type="presOf" srcId="{5D9A5639-78F5-48AE-945F-B3918B713637}" destId="{BC06B786-1B4D-444A-9D4E-38A75AB08222}" srcOrd="0" destOrd="0" presId="urn:microsoft.com/office/officeart/2005/8/layout/orgChart1"/>
    <dgm:cxn modelId="{F93262A1-768A-4C33-A70D-CDF6104A0925}" type="presOf" srcId="{06002B94-D09E-435C-A5F9-59D3BEF8FC71}" destId="{B38EFBAE-F24D-4607-8056-41FD753C7A0D}" srcOrd="0" destOrd="0" presId="urn:microsoft.com/office/officeart/2005/8/layout/orgChart1"/>
    <dgm:cxn modelId="{9C3FF7A2-C17A-4B26-B03D-79ADCDF62B6E}" srcId="{06002B94-D09E-435C-A5F9-59D3BEF8FC71}" destId="{58135677-0A81-4361-B9C9-A005F11157E4}" srcOrd="0" destOrd="0" parTransId="{BE5A2021-5D71-4F6D-9B0F-CEFD2D18CB1F}" sibTransId="{F9112C6D-31DC-40AE-B9B0-55E3CD1C3285}"/>
    <dgm:cxn modelId="{0A57C5A7-80E9-43A0-AB9C-F6143186FC9D}" type="presOf" srcId="{C040A107-5400-476F-9196-289C01A5ECAB}" destId="{4B73B73B-8152-4B3B-B8D1-8B79DD44CD90}" srcOrd="0" destOrd="0" presId="urn:microsoft.com/office/officeart/2005/8/layout/orgChart1"/>
    <dgm:cxn modelId="{67391CA8-1237-4179-B48B-4E151E33723F}" type="presOf" srcId="{FDC28D2D-E716-40BA-A482-2A6FA920FE7F}" destId="{D43CFD97-6050-49EA-B621-13E31815401B}" srcOrd="0" destOrd="0" presId="urn:microsoft.com/office/officeart/2005/8/layout/orgChart1"/>
    <dgm:cxn modelId="{8CB9D5AD-DB89-4CE2-995F-5CC40F7B6BD0}" type="presOf" srcId="{5C7BC345-B12F-49C2-87CA-37D3378B1C6C}" destId="{EECD4322-B1C1-4625-BE92-0544D012A0A1}" srcOrd="1" destOrd="0" presId="urn:microsoft.com/office/officeart/2005/8/layout/orgChart1"/>
    <dgm:cxn modelId="{12FFC1B4-540D-4306-92B5-E40C5EB0D7D9}" type="presOf" srcId="{259E44B6-650C-464D-A315-0E0EC8C2618D}" destId="{74AB3598-72BD-488E-B783-ED7130A6023F}" srcOrd="0" destOrd="0" presId="urn:microsoft.com/office/officeart/2005/8/layout/orgChart1"/>
    <dgm:cxn modelId="{1F2A02B6-6CFF-4011-B253-A5C9F2AD6BF1}" srcId="{1C005291-6471-4DE9-8ACA-188D6EA50277}" destId="{1CBBF08E-D98E-492B-8D3F-ADAF3A9C9767}" srcOrd="0" destOrd="0" parTransId="{BC58642D-7B86-4D0C-967B-3220B680449E}" sibTransId="{5F0A7ECC-496A-4940-AE81-437872FA0C82}"/>
    <dgm:cxn modelId="{007D8DB7-0DC6-419B-8A33-DF0C7643721B}" type="presOf" srcId="{4F12B914-2A21-4B9A-BCCA-0B4E9CFC9DBE}" destId="{892868DE-FA3F-456B-9909-93FE86A72657}" srcOrd="0" destOrd="0" presId="urn:microsoft.com/office/officeart/2005/8/layout/orgChart1"/>
    <dgm:cxn modelId="{E2F6EAB7-D7CD-4048-8190-41B84B2FBC9A}" type="presOf" srcId="{3913C865-6E9D-4F48-B0AC-DB66360AB161}" destId="{E060FA0A-299D-41EB-81B2-4FB6923B8E59}" srcOrd="0" destOrd="0" presId="urn:microsoft.com/office/officeart/2005/8/layout/orgChart1"/>
    <dgm:cxn modelId="{32617FB9-BFF4-483D-B610-90564EB33D0D}" type="presOf" srcId="{79DD03DD-E312-4717-91AB-E8E535E6A792}" destId="{05990123-91C8-4078-910F-84DBB4BD61BE}" srcOrd="1" destOrd="0" presId="urn:microsoft.com/office/officeart/2005/8/layout/orgChart1"/>
    <dgm:cxn modelId="{83747EBA-97C8-45C6-B4F5-15C3893331E0}" type="presOf" srcId="{131D1E18-57E0-4AD3-A823-77CC537F38DA}" destId="{3F3BB1CC-87F6-4061-92BB-2476E625BF5A}" srcOrd="1" destOrd="0" presId="urn:microsoft.com/office/officeart/2005/8/layout/orgChart1"/>
    <dgm:cxn modelId="{73FCB2BA-A7BB-4015-96C3-507C42191B2E}" type="presOf" srcId="{5707F1AD-8FAD-46DF-8294-64D7CA69B7FA}" destId="{0059C62F-FB7E-4C2B-83B8-6059DCC5FEF4}" srcOrd="1" destOrd="0" presId="urn:microsoft.com/office/officeart/2005/8/layout/orgChart1"/>
    <dgm:cxn modelId="{C1725EBB-D1B1-468A-AD9A-2115B140FC77}" srcId="{5C7BC345-B12F-49C2-87CA-37D3378B1C6C}" destId="{2CB46D88-A37E-4B7C-A4D0-EE01A2D063D2}" srcOrd="0" destOrd="0" parTransId="{1EDBB388-C7ED-4F47-AFA1-49017C082704}" sibTransId="{4DCE9E63-C707-4027-A646-4107A6B9145D}"/>
    <dgm:cxn modelId="{935410BD-1D05-4571-A80E-B9E847B5D432}" type="presOf" srcId="{3070FEAF-E714-4809-86DA-9D9DC615893B}" destId="{9FDA0F64-BC6C-4F68-806C-26BC35A22C08}" srcOrd="0" destOrd="0" presId="urn:microsoft.com/office/officeart/2005/8/layout/orgChart1"/>
    <dgm:cxn modelId="{B2C3E9C0-CFFB-4861-BAE7-F5297C4C76DE}" srcId="{3913C865-6E9D-4F48-B0AC-DB66360AB161}" destId="{FDF23FE7-99D6-46CC-9612-B3F15A6D8E04}" srcOrd="1" destOrd="0" parTransId="{C1BDA1EF-5DA5-4AAD-AAB1-9B0DFFC51B57}" sibTransId="{FB96C7EF-FAE9-4861-9AE6-6B1BC1BD03D8}"/>
    <dgm:cxn modelId="{3E3FF9C0-8139-43E3-88C4-556B4D02A10A}" srcId="{3B1ABA91-4603-421E-AB7D-296675AE7AB2}" destId="{190D8B1D-8EA9-44B7-BD31-0DCCDFA9ADC2}" srcOrd="0" destOrd="0" parTransId="{564173C8-0359-4831-9752-D8E5CC91383A}" sibTransId="{739CF3B6-F9E6-4678-AA4D-1C3E75CCBC47}"/>
    <dgm:cxn modelId="{A7DC9EC2-E825-4616-815A-62B21A4C05A9}" type="presOf" srcId="{401115A0-4D38-46A8-B3C5-D7E892CAAD5B}" destId="{6D9C4384-C201-400C-9F66-F43E8A6B3EBC}" srcOrd="0" destOrd="0" presId="urn:microsoft.com/office/officeart/2005/8/layout/orgChart1"/>
    <dgm:cxn modelId="{5B76EBC3-C2BC-4AA5-BBC7-2A69FBC4EAE1}" srcId="{DAAAF051-89F7-4FE1-9EEC-976056B64CFB}" destId="{2A761EA2-E205-4836-81B0-F019EC2C64EC}" srcOrd="0" destOrd="0" parTransId="{1D791ABE-2EA9-46CA-9A1A-D7360B8B3BD4}" sibTransId="{87216CE2-785D-4D84-9585-2CA29B422619}"/>
    <dgm:cxn modelId="{B33DA7CA-F10A-49A8-864B-DBD404E30DE4}" srcId="{1C5ED702-6D00-4A1D-9C7A-436C60845140}" destId="{F44A1BDD-EE53-4FA6-A4D3-0B829201FF10}" srcOrd="1" destOrd="0" parTransId="{FDC28D2D-E716-40BA-A482-2A6FA920FE7F}" sibTransId="{5BDC39C0-B40B-46DE-B8BD-2AABA2BC9874}"/>
    <dgm:cxn modelId="{A3B7FDCC-3D58-41A1-94AD-62404A059675}" type="presOf" srcId="{607D7892-2569-4A31-BE0E-822482C37F3D}" destId="{D133B60E-B11D-41E6-983D-AFA56DD8A857}" srcOrd="0" destOrd="0" presId="urn:microsoft.com/office/officeart/2005/8/layout/orgChart1"/>
    <dgm:cxn modelId="{402DC7CD-6569-42E2-8B52-5F2F4176D44C}" type="presOf" srcId="{DAAAF051-89F7-4FE1-9EEC-976056B64CFB}" destId="{B94123BB-5C69-4716-9BD0-9FEA21E7532F}" srcOrd="0" destOrd="0" presId="urn:microsoft.com/office/officeart/2005/8/layout/orgChart1"/>
    <dgm:cxn modelId="{390B9BCE-EAB4-4808-BA55-B97276FCF0CA}" type="presOf" srcId="{85E5C545-5700-4BFF-96E3-067421E43709}" destId="{F2969774-8F45-4C87-8042-E0556A974281}" srcOrd="1" destOrd="0" presId="urn:microsoft.com/office/officeart/2005/8/layout/orgChart1"/>
    <dgm:cxn modelId="{D88AF9D6-EC6C-4B1B-8A54-647F3507944E}" type="presOf" srcId="{7A986BF1-5D42-42AC-97C9-61508A15C7D6}" destId="{D3D0B91B-D5DA-4D9E-AD50-250415BF1051}" srcOrd="1" destOrd="0" presId="urn:microsoft.com/office/officeart/2005/8/layout/orgChart1"/>
    <dgm:cxn modelId="{B8D71AD7-331E-41CF-91F7-0C827F75666D}" type="presOf" srcId="{5C7BC345-B12F-49C2-87CA-37D3378B1C6C}" destId="{BD892431-E279-4FAF-BD13-E4A4FBEEACAC}" srcOrd="0" destOrd="0" presId="urn:microsoft.com/office/officeart/2005/8/layout/orgChart1"/>
    <dgm:cxn modelId="{3B92D5D7-A4D2-4E88-AB08-8CB5DC0C05B7}" type="presOf" srcId="{2A761EA2-E205-4836-81B0-F019EC2C64EC}" destId="{880978F7-F988-4489-B57D-9BE0F4E9EEAC}" srcOrd="0" destOrd="0" presId="urn:microsoft.com/office/officeart/2005/8/layout/orgChart1"/>
    <dgm:cxn modelId="{02BDA3D9-79BB-435C-B44A-93576F368984}" type="presOf" srcId="{B0602058-1197-4BE6-9C76-72F957B406C1}" destId="{92418032-8E20-485F-8805-50BA71082A60}" srcOrd="0" destOrd="0" presId="urn:microsoft.com/office/officeart/2005/8/layout/orgChart1"/>
    <dgm:cxn modelId="{2AFE25DB-62FF-48D4-A48F-CF0B98C59981}" type="presOf" srcId="{2B93744D-7D5D-4AAA-A9D4-065B183D1508}" destId="{C51BF866-E3D8-4FC4-B274-A6EE0B240849}" srcOrd="0" destOrd="0" presId="urn:microsoft.com/office/officeart/2005/8/layout/orgChart1"/>
    <dgm:cxn modelId="{0530CCDD-2576-4332-8EF5-3D7D43B2B46D}" type="presOf" srcId="{F44A1BDD-EE53-4FA6-A4D3-0B829201FF10}" destId="{DF5D379C-685C-4EFA-A4EF-BCD9612D0EB7}" srcOrd="1" destOrd="0" presId="urn:microsoft.com/office/officeart/2005/8/layout/orgChart1"/>
    <dgm:cxn modelId="{E8B204DE-B894-425C-89FC-86120756E929}" type="presOf" srcId="{C1BDA1EF-5DA5-4AAD-AAB1-9B0DFFC51B57}" destId="{1DCCFC51-7331-48D1-8041-30007ED84642}" srcOrd="0" destOrd="0" presId="urn:microsoft.com/office/officeart/2005/8/layout/orgChart1"/>
    <dgm:cxn modelId="{ED91C9E6-68A7-4E84-B609-A769E82AC1EA}" srcId="{5C7BC345-B12F-49C2-87CA-37D3378B1C6C}" destId="{33A68A52-6159-4DAE-B33E-2FF719C49558}" srcOrd="3" destOrd="0" parTransId="{C040A107-5400-476F-9196-289C01A5ECAB}" sibTransId="{A385A739-0621-47DB-A26D-72555667FA51}"/>
    <dgm:cxn modelId="{1986D9E9-2F0F-4A3F-97F6-0917D5541089}" type="presOf" srcId="{A238298E-3EEE-4A34-B98A-E7332B4FFAD1}" destId="{B230E744-2865-447F-9700-694E7867DAD2}" srcOrd="0" destOrd="0" presId="urn:microsoft.com/office/officeart/2005/8/layout/orgChart1"/>
    <dgm:cxn modelId="{36FB99EA-E389-4172-ACF8-B6EE81BAF694}" type="presOf" srcId="{FC9BACEA-B48C-4D8E-888D-3E2C8D98149A}" destId="{5A26A813-4E7D-4C7C-B46A-DCC75B4E2BC1}" srcOrd="0" destOrd="0" presId="urn:microsoft.com/office/officeart/2005/8/layout/orgChart1"/>
    <dgm:cxn modelId="{73C305F3-D29D-46E3-B929-3CE6A5E561B6}" type="presOf" srcId="{26191A03-3627-4E26-AC2F-FFD548AF77D1}" destId="{2D0BE812-9068-44D8-9F2B-06F722AEE7FE}" srcOrd="1" destOrd="0" presId="urn:microsoft.com/office/officeart/2005/8/layout/orgChart1"/>
    <dgm:cxn modelId="{5C8A90F3-931E-410B-938E-7AF6131452A7}" srcId="{7A986BF1-5D42-42AC-97C9-61508A15C7D6}" destId="{131D1E18-57E0-4AD3-A823-77CC537F38DA}" srcOrd="2" destOrd="0" parTransId="{B2F31091-45D7-4AB9-8F57-65A84F08A2B5}" sibTransId="{D639F1C7-BE18-4962-A718-D94A8E346F60}"/>
    <dgm:cxn modelId="{7C9295F3-C909-46FA-BA54-90B5D8A2D7F2}" srcId="{7A986BF1-5D42-42AC-97C9-61508A15C7D6}" destId="{3913C865-6E9D-4F48-B0AC-DB66360AB161}" srcOrd="1" destOrd="0" parTransId="{B0602058-1197-4BE6-9C76-72F957B406C1}" sibTransId="{DED608E9-13DC-40D7-918F-9A3A07B0ACFB}"/>
    <dgm:cxn modelId="{FA7706F7-C6D3-4838-A6F2-1DD6822BFE9D}" type="presOf" srcId="{2109D80E-F23A-4E1A-BDBB-48215AF2024E}" destId="{51599ED6-4B63-44D0-96DD-4ED365750D0F}" srcOrd="0" destOrd="0" presId="urn:microsoft.com/office/officeart/2005/8/layout/orgChart1"/>
    <dgm:cxn modelId="{46A177F9-A294-4330-AB7C-FA9CDA8AFAC8}" srcId="{F44A1BDD-EE53-4FA6-A4D3-0B829201FF10}" destId="{11A47870-75E9-4C3F-892B-448E73141CBD}" srcOrd="2" destOrd="0" parTransId="{7DB54FCA-DCE7-4972-AF17-E6160395D967}" sibTransId="{0F712D2E-4D46-4125-99A2-2C01A556A9D4}"/>
    <dgm:cxn modelId="{E648F0FC-AC20-4F4B-8D3A-66A8FCEB41DD}" type="presOf" srcId="{7A986BF1-5D42-42AC-97C9-61508A15C7D6}" destId="{DFCAFEF8-DFFB-41E8-9B88-89EE67A118E4}" srcOrd="0" destOrd="0" presId="urn:microsoft.com/office/officeart/2005/8/layout/orgChart1"/>
    <dgm:cxn modelId="{04BE68FF-D689-417F-B170-E7F189463250}" type="presOf" srcId="{BC58642D-7B86-4D0C-967B-3220B680449E}" destId="{65644B6A-B35C-43AC-95BF-81D0FBD1F32B}" srcOrd="0" destOrd="0" presId="urn:microsoft.com/office/officeart/2005/8/layout/orgChart1"/>
    <dgm:cxn modelId="{40B60A5D-AAF9-4D2E-ADF3-D0AAF42BB3E9}" type="presParOf" srcId="{21DFCF00-BA3A-442D-A302-E8B9B273D4D7}" destId="{B1A764D9-D96A-4B53-B856-AEF52D45A3BA}" srcOrd="0" destOrd="0" presId="urn:microsoft.com/office/officeart/2005/8/layout/orgChart1"/>
    <dgm:cxn modelId="{0D4B63F7-A387-4988-AB23-4133868C24C9}" type="presParOf" srcId="{B1A764D9-D96A-4B53-B856-AEF52D45A3BA}" destId="{B4B8F1AC-A107-4950-B735-168B3D8CC895}" srcOrd="0" destOrd="0" presId="urn:microsoft.com/office/officeart/2005/8/layout/orgChart1"/>
    <dgm:cxn modelId="{5240A2D4-80B9-4505-8F35-BC74350444C5}" type="presParOf" srcId="{B4B8F1AC-A107-4950-B735-168B3D8CC895}" destId="{B38EFBAE-F24D-4607-8056-41FD753C7A0D}" srcOrd="0" destOrd="0" presId="urn:microsoft.com/office/officeart/2005/8/layout/orgChart1"/>
    <dgm:cxn modelId="{58C471E4-3516-42F2-B612-BD1617223E02}" type="presParOf" srcId="{B4B8F1AC-A107-4950-B735-168B3D8CC895}" destId="{9F3F7C96-9EB6-4B0C-996D-E8AFB782C371}" srcOrd="1" destOrd="0" presId="urn:microsoft.com/office/officeart/2005/8/layout/orgChart1"/>
    <dgm:cxn modelId="{B1E93482-4F36-4F17-80C2-BC8B9F3F4F9B}" type="presParOf" srcId="{B1A764D9-D96A-4B53-B856-AEF52D45A3BA}" destId="{739FC934-DA7E-4472-AEA5-FF44FCFB5313}" srcOrd="1" destOrd="0" presId="urn:microsoft.com/office/officeart/2005/8/layout/orgChart1"/>
    <dgm:cxn modelId="{D723CE97-6EC1-4983-A3CE-ACDA4B9D2BC1}" type="presParOf" srcId="{739FC934-DA7E-4472-AEA5-FF44FCFB5313}" destId="{62745C3C-8409-4F96-ACA1-A05ED7E3E9BC}" srcOrd="0" destOrd="0" presId="urn:microsoft.com/office/officeart/2005/8/layout/orgChart1"/>
    <dgm:cxn modelId="{46EAEB9C-F522-4613-9347-019AC41893BD}" type="presParOf" srcId="{739FC934-DA7E-4472-AEA5-FF44FCFB5313}" destId="{70B04D6F-66A9-4FDE-AB32-DAD3550F22D3}" srcOrd="1" destOrd="0" presId="urn:microsoft.com/office/officeart/2005/8/layout/orgChart1"/>
    <dgm:cxn modelId="{82026287-D840-455A-9C53-EB5B9A4F699D}" type="presParOf" srcId="{70B04D6F-66A9-4FDE-AB32-DAD3550F22D3}" destId="{FE44CBEE-EA0D-4D1C-B742-153A38EF3A6D}" srcOrd="0" destOrd="0" presId="urn:microsoft.com/office/officeart/2005/8/layout/orgChart1"/>
    <dgm:cxn modelId="{7DAB3B6A-AD33-4D04-BAEF-B11278C12778}" type="presParOf" srcId="{FE44CBEE-EA0D-4D1C-B742-153A38EF3A6D}" destId="{5C13A3CF-5101-4405-863A-A3E2CCBB22AB}" srcOrd="0" destOrd="0" presId="urn:microsoft.com/office/officeart/2005/8/layout/orgChart1"/>
    <dgm:cxn modelId="{6E0C10FE-D96B-46E6-9BB2-7E320651F811}" type="presParOf" srcId="{FE44CBEE-EA0D-4D1C-B742-153A38EF3A6D}" destId="{9A1EC101-B2CE-405F-9790-44F992781CFD}" srcOrd="1" destOrd="0" presId="urn:microsoft.com/office/officeart/2005/8/layout/orgChart1"/>
    <dgm:cxn modelId="{F698B508-BC30-4D7E-9F81-F16AC8996EFB}" type="presParOf" srcId="{70B04D6F-66A9-4FDE-AB32-DAD3550F22D3}" destId="{AD9984FC-7F99-4311-B933-77886C628D45}" srcOrd="1" destOrd="0" presId="urn:microsoft.com/office/officeart/2005/8/layout/orgChart1"/>
    <dgm:cxn modelId="{054AA06D-6D80-47F7-AB2E-C7A8FE9B1E6C}" type="presParOf" srcId="{AD9984FC-7F99-4311-B933-77886C628D45}" destId="{00ED9990-A0CC-4608-9427-1ECE9162B7E7}" srcOrd="0" destOrd="0" presId="urn:microsoft.com/office/officeart/2005/8/layout/orgChart1"/>
    <dgm:cxn modelId="{83BBBC3B-0A3E-4B1C-AD05-7EA969A230C0}" type="presParOf" srcId="{AD9984FC-7F99-4311-B933-77886C628D45}" destId="{9AE9DF00-383B-4713-BA68-B54DBAA73515}" srcOrd="1" destOrd="0" presId="urn:microsoft.com/office/officeart/2005/8/layout/orgChart1"/>
    <dgm:cxn modelId="{F9DEE06B-9652-4166-94CF-CBC8BA812492}" type="presParOf" srcId="{9AE9DF00-383B-4713-BA68-B54DBAA73515}" destId="{202DCB8C-26F2-4987-9911-77C3BD2E403A}" srcOrd="0" destOrd="0" presId="urn:microsoft.com/office/officeart/2005/8/layout/orgChart1"/>
    <dgm:cxn modelId="{84A2E0CB-2813-4857-8FBA-C0FB4DEAFC53}" type="presParOf" srcId="{202DCB8C-26F2-4987-9911-77C3BD2E403A}" destId="{8CC729E0-048C-4A38-B2A1-88086D3534AD}" srcOrd="0" destOrd="0" presId="urn:microsoft.com/office/officeart/2005/8/layout/orgChart1"/>
    <dgm:cxn modelId="{D7DB1D69-0493-42A2-A5B1-B2203F377C02}" type="presParOf" srcId="{202DCB8C-26F2-4987-9911-77C3BD2E403A}" destId="{ABBEBFB4-6AC5-4350-B24F-31FE8D5C42C9}" srcOrd="1" destOrd="0" presId="urn:microsoft.com/office/officeart/2005/8/layout/orgChart1"/>
    <dgm:cxn modelId="{A0C39316-0C67-4B75-8DCB-D3D6C6EB9900}" type="presParOf" srcId="{9AE9DF00-383B-4713-BA68-B54DBAA73515}" destId="{39F5A7BD-C401-4946-8E8D-DC7CC7B34B77}" srcOrd="1" destOrd="0" presId="urn:microsoft.com/office/officeart/2005/8/layout/orgChart1"/>
    <dgm:cxn modelId="{A1D65E7D-4EE1-4EEA-9EC0-23C6CB94BFAC}" type="presParOf" srcId="{39F5A7BD-C401-4946-8E8D-DC7CC7B34B77}" destId="{E04B59F1-0AC2-4C67-9B95-FBF8C2AEAE1B}" srcOrd="0" destOrd="0" presId="urn:microsoft.com/office/officeart/2005/8/layout/orgChart1"/>
    <dgm:cxn modelId="{6FA7D71D-1FC8-4592-8419-B0A43D4BFCD3}" type="presParOf" srcId="{39F5A7BD-C401-4946-8E8D-DC7CC7B34B77}" destId="{514619AC-B3A7-47B6-BE42-B7E50710CD67}" srcOrd="1" destOrd="0" presId="urn:microsoft.com/office/officeart/2005/8/layout/orgChart1"/>
    <dgm:cxn modelId="{AFCA3B97-3DF1-4E5C-8680-17C9442F401A}" type="presParOf" srcId="{514619AC-B3A7-47B6-BE42-B7E50710CD67}" destId="{9858EAE4-4342-4872-BD41-BE13DF2D7D80}" srcOrd="0" destOrd="0" presId="urn:microsoft.com/office/officeart/2005/8/layout/orgChart1"/>
    <dgm:cxn modelId="{28D8E9D4-2D35-40D9-ADB9-33B5FE887F3C}" type="presParOf" srcId="{9858EAE4-4342-4872-BD41-BE13DF2D7D80}" destId="{BD892431-E279-4FAF-BD13-E4A4FBEEACAC}" srcOrd="0" destOrd="0" presId="urn:microsoft.com/office/officeart/2005/8/layout/orgChart1"/>
    <dgm:cxn modelId="{A70E52B3-CFDF-47A3-8658-E1D8AB59E8AF}" type="presParOf" srcId="{9858EAE4-4342-4872-BD41-BE13DF2D7D80}" destId="{EECD4322-B1C1-4625-BE92-0544D012A0A1}" srcOrd="1" destOrd="0" presId="urn:microsoft.com/office/officeart/2005/8/layout/orgChart1"/>
    <dgm:cxn modelId="{0C4FB1C6-B5AE-4F0A-9776-52508B8D3F59}" type="presParOf" srcId="{514619AC-B3A7-47B6-BE42-B7E50710CD67}" destId="{40074E54-F20F-4F18-8D53-AC1FB38C47AB}" srcOrd="1" destOrd="0" presId="urn:microsoft.com/office/officeart/2005/8/layout/orgChart1"/>
    <dgm:cxn modelId="{5559DD14-7175-4DB4-9876-2E44DB078DB8}" type="presParOf" srcId="{40074E54-F20F-4F18-8D53-AC1FB38C47AB}" destId="{EDC30AD0-1BF1-49DE-BBBF-050125F44676}" srcOrd="0" destOrd="0" presId="urn:microsoft.com/office/officeart/2005/8/layout/orgChart1"/>
    <dgm:cxn modelId="{0327EF7A-05F0-4212-B1E0-35A4BE8F5EC0}" type="presParOf" srcId="{40074E54-F20F-4F18-8D53-AC1FB38C47AB}" destId="{C00426F8-C4EA-403B-A7C7-66389DE7C020}" srcOrd="1" destOrd="0" presId="urn:microsoft.com/office/officeart/2005/8/layout/orgChart1"/>
    <dgm:cxn modelId="{ECA7897E-D130-47AE-98BE-AD690482D150}" type="presParOf" srcId="{C00426F8-C4EA-403B-A7C7-66389DE7C020}" destId="{E2079A0E-07B2-4814-BAA1-05D424AF974D}" srcOrd="0" destOrd="0" presId="urn:microsoft.com/office/officeart/2005/8/layout/orgChart1"/>
    <dgm:cxn modelId="{84BEFCBA-16E5-4566-A812-FA1A749CAD4C}" type="presParOf" srcId="{E2079A0E-07B2-4814-BAA1-05D424AF974D}" destId="{BB9456C3-1730-4153-BAC1-76A7B7DE168E}" srcOrd="0" destOrd="0" presId="urn:microsoft.com/office/officeart/2005/8/layout/orgChart1"/>
    <dgm:cxn modelId="{CA284787-0226-4FC2-A5BF-0EB8EA61EE45}" type="presParOf" srcId="{E2079A0E-07B2-4814-BAA1-05D424AF974D}" destId="{D985CD73-610D-4AD1-8D26-E8075C757933}" srcOrd="1" destOrd="0" presId="urn:microsoft.com/office/officeart/2005/8/layout/orgChart1"/>
    <dgm:cxn modelId="{8CF97B5D-168B-4EC5-A9AE-36513C32FAD2}" type="presParOf" srcId="{C00426F8-C4EA-403B-A7C7-66389DE7C020}" destId="{776739EA-94A8-4BA1-8A7D-D2BAD551EAC8}" srcOrd="1" destOrd="0" presId="urn:microsoft.com/office/officeart/2005/8/layout/orgChart1"/>
    <dgm:cxn modelId="{A6D5538D-F2C5-43F4-AE83-29903E4B541B}" type="presParOf" srcId="{C00426F8-C4EA-403B-A7C7-66389DE7C020}" destId="{71E9045E-A50F-4180-BC82-766575B588A1}" srcOrd="2" destOrd="0" presId="urn:microsoft.com/office/officeart/2005/8/layout/orgChart1"/>
    <dgm:cxn modelId="{A0118DAF-45C8-4A83-9F33-2394F44133D2}" type="presParOf" srcId="{40074E54-F20F-4F18-8D53-AC1FB38C47AB}" destId="{05FA96D6-E130-46C9-A75C-1D864AAA16EB}" srcOrd="2" destOrd="0" presId="urn:microsoft.com/office/officeart/2005/8/layout/orgChart1"/>
    <dgm:cxn modelId="{89E55FBB-B91D-4FC5-B085-104746D3C37C}" type="presParOf" srcId="{40074E54-F20F-4F18-8D53-AC1FB38C47AB}" destId="{1FFA1B56-3A58-4294-B7A8-843351052266}" srcOrd="3" destOrd="0" presId="urn:microsoft.com/office/officeart/2005/8/layout/orgChart1"/>
    <dgm:cxn modelId="{35586497-8983-4118-9195-252479A25C75}" type="presParOf" srcId="{1FFA1B56-3A58-4294-B7A8-843351052266}" destId="{1F83E78C-65D8-44F0-9647-A24A377A005D}" srcOrd="0" destOrd="0" presId="urn:microsoft.com/office/officeart/2005/8/layout/orgChart1"/>
    <dgm:cxn modelId="{D22900AC-B167-4FA0-AEE8-A23F03518293}" type="presParOf" srcId="{1F83E78C-65D8-44F0-9647-A24A377A005D}" destId="{D133B60E-B11D-41E6-983D-AFA56DD8A857}" srcOrd="0" destOrd="0" presId="urn:microsoft.com/office/officeart/2005/8/layout/orgChart1"/>
    <dgm:cxn modelId="{FF927978-CF87-4594-B191-6BB6A6F06ADE}" type="presParOf" srcId="{1F83E78C-65D8-44F0-9647-A24A377A005D}" destId="{B28B4B3E-A788-4769-AA87-46CAA76CAEA8}" srcOrd="1" destOrd="0" presId="urn:microsoft.com/office/officeart/2005/8/layout/orgChart1"/>
    <dgm:cxn modelId="{B5BBBF69-B6CA-4D86-8400-E18BB873F47D}" type="presParOf" srcId="{1FFA1B56-3A58-4294-B7A8-843351052266}" destId="{25C3E81D-C8ED-4BB0-873B-E42E10C83789}" srcOrd="1" destOrd="0" presId="urn:microsoft.com/office/officeart/2005/8/layout/orgChart1"/>
    <dgm:cxn modelId="{B78389B7-20CC-4477-8D3D-36B87C827B93}" type="presParOf" srcId="{1FFA1B56-3A58-4294-B7A8-843351052266}" destId="{504E5852-2BA3-4452-823B-0322A9B114FD}" srcOrd="2" destOrd="0" presId="urn:microsoft.com/office/officeart/2005/8/layout/orgChart1"/>
    <dgm:cxn modelId="{6A5AB913-B803-4341-A1E0-445231F604B8}" type="presParOf" srcId="{40074E54-F20F-4F18-8D53-AC1FB38C47AB}" destId="{14BD35A4-B0E3-4085-9410-A46734042A6B}" srcOrd="4" destOrd="0" presId="urn:microsoft.com/office/officeart/2005/8/layout/orgChart1"/>
    <dgm:cxn modelId="{FE43076F-BEE5-4CDE-B57B-ED0844712314}" type="presParOf" srcId="{40074E54-F20F-4F18-8D53-AC1FB38C47AB}" destId="{C8CF69BD-3932-49E8-BEB1-AD43D1DA8063}" srcOrd="5" destOrd="0" presId="urn:microsoft.com/office/officeart/2005/8/layout/orgChart1"/>
    <dgm:cxn modelId="{CC8230AB-1F9D-4345-8554-54873C06D70D}" type="presParOf" srcId="{C8CF69BD-3932-49E8-BEB1-AD43D1DA8063}" destId="{8FBC3B11-A3EC-462F-8136-217CA71E988F}" srcOrd="0" destOrd="0" presId="urn:microsoft.com/office/officeart/2005/8/layout/orgChart1"/>
    <dgm:cxn modelId="{2CDBA0A2-E392-4DD8-859E-D7BABCB52AD7}" type="presParOf" srcId="{8FBC3B11-A3EC-462F-8136-217CA71E988F}" destId="{6D9C4384-C201-400C-9F66-F43E8A6B3EBC}" srcOrd="0" destOrd="0" presId="urn:microsoft.com/office/officeart/2005/8/layout/orgChart1"/>
    <dgm:cxn modelId="{28874CCA-0DE4-479A-8E5B-E7E5A083D3C7}" type="presParOf" srcId="{8FBC3B11-A3EC-462F-8136-217CA71E988F}" destId="{1FB57A76-326D-4FDB-B50C-BD51CD959EAF}" srcOrd="1" destOrd="0" presId="urn:microsoft.com/office/officeart/2005/8/layout/orgChart1"/>
    <dgm:cxn modelId="{381EA936-AF2B-4400-A11B-0DF893917BB5}" type="presParOf" srcId="{C8CF69BD-3932-49E8-BEB1-AD43D1DA8063}" destId="{EA323722-946D-4EFD-814B-9C56AF6E111E}" srcOrd="1" destOrd="0" presId="urn:microsoft.com/office/officeart/2005/8/layout/orgChart1"/>
    <dgm:cxn modelId="{858D9897-5298-424C-92C3-D245D26F264A}" type="presParOf" srcId="{C8CF69BD-3932-49E8-BEB1-AD43D1DA8063}" destId="{17B1FE9D-E367-4717-87B2-F8E962169158}" srcOrd="2" destOrd="0" presId="urn:microsoft.com/office/officeart/2005/8/layout/orgChart1"/>
    <dgm:cxn modelId="{9CBCDDB7-E672-4C0E-8297-EAB9DFFBEC61}" type="presParOf" srcId="{40074E54-F20F-4F18-8D53-AC1FB38C47AB}" destId="{4B73B73B-8152-4B3B-B8D1-8B79DD44CD90}" srcOrd="6" destOrd="0" presId="urn:microsoft.com/office/officeart/2005/8/layout/orgChart1"/>
    <dgm:cxn modelId="{FAB9D1B7-ACA8-4FA6-8D71-0CA6A78D6D13}" type="presParOf" srcId="{40074E54-F20F-4F18-8D53-AC1FB38C47AB}" destId="{2BAB9F0A-B704-4518-A0A5-C9F5DEB6F87C}" srcOrd="7" destOrd="0" presId="urn:microsoft.com/office/officeart/2005/8/layout/orgChart1"/>
    <dgm:cxn modelId="{62E84AB8-A1B3-4D4F-9E4B-D2F235B53FC9}" type="presParOf" srcId="{2BAB9F0A-B704-4518-A0A5-C9F5DEB6F87C}" destId="{648A1259-CC8C-42DF-A646-BDC337189DA0}" srcOrd="0" destOrd="0" presId="urn:microsoft.com/office/officeart/2005/8/layout/orgChart1"/>
    <dgm:cxn modelId="{BA421741-D1FB-462F-817B-8F8E4E279A39}" type="presParOf" srcId="{648A1259-CC8C-42DF-A646-BDC337189DA0}" destId="{E5A8D694-AD1C-4826-86E7-9D6DCB9E1BCF}" srcOrd="0" destOrd="0" presId="urn:microsoft.com/office/officeart/2005/8/layout/orgChart1"/>
    <dgm:cxn modelId="{6B1DE2BE-8EBF-470E-81AB-53C2CDA72776}" type="presParOf" srcId="{648A1259-CC8C-42DF-A646-BDC337189DA0}" destId="{002AD001-EA03-4060-AE4E-EED9B0E8E8C5}" srcOrd="1" destOrd="0" presId="urn:microsoft.com/office/officeart/2005/8/layout/orgChart1"/>
    <dgm:cxn modelId="{7035763A-B0FC-441B-821D-75810F1AB4C1}" type="presParOf" srcId="{2BAB9F0A-B704-4518-A0A5-C9F5DEB6F87C}" destId="{7E48F70D-41BC-4DE4-8A7A-20A2C381768B}" srcOrd="1" destOrd="0" presId="urn:microsoft.com/office/officeart/2005/8/layout/orgChart1"/>
    <dgm:cxn modelId="{8953674F-4B1C-4A17-A7C1-A89C48262BBB}" type="presParOf" srcId="{2BAB9F0A-B704-4518-A0A5-C9F5DEB6F87C}" destId="{2D8D326B-AAEF-4748-B3C1-13C7E925496C}" srcOrd="2" destOrd="0" presId="urn:microsoft.com/office/officeart/2005/8/layout/orgChart1"/>
    <dgm:cxn modelId="{6F65E80A-98A0-41AE-B4E2-7F92BBB4C176}" type="presParOf" srcId="{514619AC-B3A7-47B6-BE42-B7E50710CD67}" destId="{C7328AD3-2368-47D8-B7B4-D0E18EB0058C}" srcOrd="2" destOrd="0" presId="urn:microsoft.com/office/officeart/2005/8/layout/orgChart1"/>
    <dgm:cxn modelId="{9F861A31-DA17-4C41-8A50-C028D4BE1FF5}" type="presParOf" srcId="{39F5A7BD-C401-4946-8E8D-DC7CC7B34B77}" destId="{D43CFD97-6050-49EA-B621-13E31815401B}" srcOrd="2" destOrd="0" presId="urn:microsoft.com/office/officeart/2005/8/layout/orgChart1"/>
    <dgm:cxn modelId="{6EEE642B-361A-42C3-8058-6203E968B9AA}" type="presParOf" srcId="{39F5A7BD-C401-4946-8E8D-DC7CC7B34B77}" destId="{AA4930E1-9369-439B-A2B1-161B929BBF83}" srcOrd="3" destOrd="0" presId="urn:microsoft.com/office/officeart/2005/8/layout/orgChart1"/>
    <dgm:cxn modelId="{CFA12ECD-D7E5-4ADD-8330-A59452842E75}" type="presParOf" srcId="{AA4930E1-9369-439B-A2B1-161B929BBF83}" destId="{3BE4C1CE-8A28-4E1A-B65D-BA0CB6A2A7F0}" srcOrd="0" destOrd="0" presId="urn:microsoft.com/office/officeart/2005/8/layout/orgChart1"/>
    <dgm:cxn modelId="{7731D934-8288-4246-B546-1F629CE0A382}" type="presParOf" srcId="{3BE4C1CE-8A28-4E1A-B65D-BA0CB6A2A7F0}" destId="{E5C5F92F-6F25-462F-AF8F-6112574BA167}" srcOrd="0" destOrd="0" presId="urn:microsoft.com/office/officeart/2005/8/layout/orgChart1"/>
    <dgm:cxn modelId="{49D56CE6-FFEB-48EA-87D2-C343A132278B}" type="presParOf" srcId="{3BE4C1CE-8A28-4E1A-B65D-BA0CB6A2A7F0}" destId="{DF5D379C-685C-4EFA-A4EF-BCD9612D0EB7}" srcOrd="1" destOrd="0" presId="urn:microsoft.com/office/officeart/2005/8/layout/orgChart1"/>
    <dgm:cxn modelId="{84D55C4D-1857-4190-BA65-B837C114000B}" type="presParOf" srcId="{AA4930E1-9369-439B-A2B1-161B929BBF83}" destId="{4F4981CB-24DE-4427-865E-B9A4E6F516D4}" srcOrd="1" destOrd="0" presId="urn:microsoft.com/office/officeart/2005/8/layout/orgChart1"/>
    <dgm:cxn modelId="{599F430D-325D-489F-8D8B-DADCF87D6893}" type="presParOf" srcId="{4F4981CB-24DE-4427-865E-B9A4E6F516D4}" destId="{74AB3598-72BD-488E-B783-ED7130A6023F}" srcOrd="0" destOrd="0" presId="urn:microsoft.com/office/officeart/2005/8/layout/orgChart1"/>
    <dgm:cxn modelId="{91DF0611-B88B-49C0-A526-A13EEBBD853E}" type="presParOf" srcId="{4F4981CB-24DE-4427-865E-B9A4E6F516D4}" destId="{CB89603D-24E2-4CCE-A7BD-7B81E846CC76}" srcOrd="1" destOrd="0" presId="urn:microsoft.com/office/officeart/2005/8/layout/orgChart1"/>
    <dgm:cxn modelId="{D873B9BF-72AE-4DAE-A03D-FB1A26CB89D8}" type="presParOf" srcId="{CB89603D-24E2-4CCE-A7BD-7B81E846CC76}" destId="{5743994A-AC0C-49DC-A39B-B035EB79F261}" srcOrd="0" destOrd="0" presId="urn:microsoft.com/office/officeart/2005/8/layout/orgChart1"/>
    <dgm:cxn modelId="{8B14B69F-D330-43F7-B4B5-70777596BAFF}" type="presParOf" srcId="{5743994A-AC0C-49DC-A39B-B035EB79F261}" destId="{9BF330ED-773F-45AE-BFF2-2A9E6324428E}" srcOrd="0" destOrd="0" presId="urn:microsoft.com/office/officeart/2005/8/layout/orgChart1"/>
    <dgm:cxn modelId="{8BA87A0D-EDCC-4C51-A635-096087990091}" type="presParOf" srcId="{5743994A-AC0C-49DC-A39B-B035EB79F261}" destId="{167A7ED0-4FDF-40D2-91CA-2E110C90DA5F}" srcOrd="1" destOrd="0" presId="urn:microsoft.com/office/officeart/2005/8/layout/orgChart1"/>
    <dgm:cxn modelId="{4CA2A14C-4410-4E96-8F0E-57694F8C24CC}" type="presParOf" srcId="{CB89603D-24E2-4CCE-A7BD-7B81E846CC76}" destId="{F52BD14E-5C91-4741-9F34-FD1EFB26B783}" srcOrd="1" destOrd="0" presId="urn:microsoft.com/office/officeart/2005/8/layout/orgChart1"/>
    <dgm:cxn modelId="{C7A541E0-626C-4A87-A436-BAB25AC60541}" type="presParOf" srcId="{CB89603D-24E2-4CCE-A7BD-7B81E846CC76}" destId="{461151F4-53A5-481A-8088-62EA681AE4BA}" srcOrd="2" destOrd="0" presId="urn:microsoft.com/office/officeart/2005/8/layout/orgChart1"/>
    <dgm:cxn modelId="{829FA197-1133-46DB-B991-F900CF3D2833}" type="presParOf" srcId="{4F4981CB-24DE-4427-865E-B9A4E6F516D4}" destId="{9FDA0F64-BC6C-4F68-806C-26BC35A22C08}" srcOrd="2" destOrd="0" presId="urn:microsoft.com/office/officeart/2005/8/layout/orgChart1"/>
    <dgm:cxn modelId="{E8694D8D-1B71-479D-9CE1-FA0EA869965D}" type="presParOf" srcId="{4F4981CB-24DE-4427-865E-B9A4E6F516D4}" destId="{24E0F532-EF7B-432D-A186-FE40C4588199}" srcOrd="3" destOrd="0" presId="urn:microsoft.com/office/officeart/2005/8/layout/orgChart1"/>
    <dgm:cxn modelId="{C8824FCC-1387-45F4-9D3B-AEE280AC81DC}" type="presParOf" srcId="{24E0F532-EF7B-432D-A186-FE40C4588199}" destId="{93A1C2A6-381C-472A-B715-37F5F2A4D5B7}" srcOrd="0" destOrd="0" presId="urn:microsoft.com/office/officeart/2005/8/layout/orgChart1"/>
    <dgm:cxn modelId="{5B2AFC1A-0546-47F9-B81D-523642D603B5}" type="presParOf" srcId="{93A1C2A6-381C-472A-B715-37F5F2A4D5B7}" destId="{1C363F96-B440-42B6-A547-56600F95A979}" srcOrd="0" destOrd="0" presId="urn:microsoft.com/office/officeart/2005/8/layout/orgChart1"/>
    <dgm:cxn modelId="{512D8122-0C81-4ADD-BD80-A1E91362D626}" type="presParOf" srcId="{93A1C2A6-381C-472A-B715-37F5F2A4D5B7}" destId="{2D0BE812-9068-44D8-9F2B-06F722AEE7FE}" srcOrd="1" destOrd="0" presId="urn:microsoft.com/office/officeart/2005/8/layout/orgChart1"/>
    <dgm:cxn modelId="{08BC2816-A0AD-4AF9-ABD1-E14EFBF495C2}" type="presParOf" srcId="{24E0F532-EF7B-432D-A186-FE40C4588199}" destId="{04D504F3-AB17-45C4-B30A-ED9FBDF5647F}" srcOrd="1" destOrd="0" presId="urn:microsoft.com/office/officeart/2005/8/layout/orgChart1"/>
    <dgm:cxn modelId="{BFBB9C61-157C-4222-BA41-158F52E2347E}" type="presParOf" srcId="{24E0F532-EF7B-432D-A186-FE40C4588199}" destId="{E60BED37-DFB4-4E43-B462-BFAD151DAF64}" srcOrd="2" destOrd="0" presId="urn:microsoft.com/office/officeart/2005/8/layout/orgChart1"/>
    <dgm:cxn modelId="{9230AFE9-3A16-48E2-9D75-549955364FF9}" type="presParOf" srcId="{4F4981CB-24DE-4427-865E-B9A4E6F516D4}" destId="{AF4C31F8-A271-48CF-BCCC-51BE3B598757}" srcOrd="4" destOrd="0" presId="urn:microsoft.com/office/officeart/2005/8/layout/orgChart1"/>
    <dgm:cxn modelId="{61AB054E-CC5B-43B9-9726-265486AC6526}" type="presParOf" srcId="{4F4981CB-24DE-4427-865E-B9A4E6F516D4}" destId="{47427BA2-7A78-4563-BDEB-308F9175D2E5}" srcOrd="5" destOrd="0" presId="urn:microsoft.com/office/officeart/2005/8/layout/orgChart1"/>
    <dgm:cxn modelId="{8C301E3A-56AD-47B7-AA76-C956A60D2BCE}" type="presParOf" srcId="{47427BA2-7A78-4563-BDEB-308F9175D2E5}" destId="{38AE3C0E-FCEF-4B1C-A610-86FB795028E8}" srcOrd="0" destOrd="0" presId="urn:microsoft.com/office/officeart/2005/8/layout/orgChart1"/>
    <dgm:cxn modelId="{200CDA5C-1833-409D-AC38-6843F49478AD}" type="presParOf" srcId="{38AE3C0E-FCEF-4B1C-A610-86FB795028E8}" destId="{50F93FED-FAD8-4246-8380-95E5FD1CAFCF}" srcOrd="0" destOrd="0" presId="urn:microsoft.com/office/officeart/2005/8/layout/orgChart1"/>
    <dgm:cxn modelId="{D05933C4-B107-45C8-A0C2-DBB88F189BFC}" type="presParOf" srcId="{38AE3C0E-FCEF-4B1C-A610-86FB795028E8}" destId="{CDD983B0-8FE9-496E-A348-1717DA1A98BF}" srcOrd="1" destOrd="0" presId="urn:microsoft.com/office/officeart/2005/8/layout/orgChart1"/>
    <dgm:cxn modelId="{4F4808E3-9548-4164-877F-7110CCAA9BEB}" type="presParOf" srcId="{47427BA2-7A78-4563-BDEB-308F9175D2E5}" destId="{61DF0730-3A4F-4AD6-AA71-E1361092B3A8}" srcOrd="1" destOrd="0" presId="urn:microsoft.com/office/officeart/2005/8/layout/orgChart1"/>
    <dgm:cxn modelId="{52C5EF86-C3F4-4757-870C-AA31B299C061}" type="presParOf" srcId="{47427BA2-7A78-4563-BDEB-308F9175D2E5}" destId="{3A6AE6D0-74EF-4DB9-BFA2-806626FEE2CA}" srcOrd="2" destOrd="0" presId="urn:microsoft.com/office/officeart/2005/8/layout/orgChart1"/>
    <dgm:cxn modelId="{4E0D8DB2-852A-4556-97A1-3EF2BB91699F}" type="presParOf" srcId="{4F4981CB-24DE-4427-865E-B9A4E6F516D4}" destId="{0D1E12E0-9EC4-420E-8447-34C8E5655286}" srcOrd="6" destOrd="0" presId="urn:microsoft.com/office/officeart/2005/8/layout/orgChart1"/>
    <dgm:cxn modelId="{A7CBAB17-68FE-4CA4-8212-622099022159}" type="presParOf" srcId="{4F4981CB-24DE-4427-865E-B9A4E6F516D4}" destId="{EB14C6F1-6E99-4180-A04E-D00F567D68F5}" srcOrd="7" destOrd="0" presId="urn:microsoft.com/office/officeart/2005/8/layout/orgChart1"/>
    <dgm:cxn modelId="{C4E683E2-CE05-42C1-A59B-BB38547CBC05}" type="presParOf" srcId="{EB14C6F1-6E99-4180-A04E-D00F567D68F5}" destId="{5E98DA1C-A273-45FD-8C84-245DA2D37719}" srcOrd="0" destOrd="0" presId="urn:microsoft.com/office/officeart/2005/8/layout/orgChart1"/>
    <dgm:cxn modelId="{C179F3D9-F042-4B26-9EBE-B07B5D8C0E35}" type="presParOf" srcId="{5E98DA1C-A273-45FD-8C84-245DA2D37719}" destId="{901B3078-2251-40B5-B048-64F4648E7EA1}" srcOrd="0" destOrd="0" presId="urn:microsoft.com/office/officeart/2005/8/layout/orgChart1"/>
    <dgm:cxn modelId="{BB6EBC7A-282F-42A3-B266-EEC872DBC278}" type="presParOf" srcId="{5E98DA1C-A273-45FD-8C84-245DA2D37719}" destId="{ABDF2FD1-1E0C-434E-AE15-E15860706D31}" srcOrd="1" destOrd="0" presId="urn:microsoft.com/office/officeart/2005/8/layout/orgChart1"/>
    <dgm:cxn modelId="{5627E759-3CB6-4C2B-B6FA-8F53F03E1619}" type="presParOf" srcId="{EB14C6F1-6E99-4180-A04E-D00F567D68F5}" destId="{CB08E346-059E-47DD-95B4-33B55C6AB1CA}" srcOrd="1" destOrd="0" presId="urn:microsoft.com/office/officeart/2005/8/layout/orgChart1"/>
    <dgm:cxn modelId="{151FC59F-A2F3-4051-94D0-8B3422962DCD}" type="presParOf" srcId="{EB14C6F1-6E99-4180-A04E-D00F567D68F5}" destId="{101F261B-3F37-400C-9693-14D22271F33D}" srcOrd="2" destOrd="0" presId="urn:microsoft.com/office/officeart/2005/8/layout/orgChart1"/>
    <dgm:cxn modelId="{C12C3E59-06C6-4218-AA51-122BBAF04D45}" type="presParOf" srcId="{AA4930E1-9369-439B-A2B1-161B929BBF83}" destId="{FC9E5020-3F34-4AAF-84BD-223A92F87DC9}" srcOrd="2" destOrd="0" presId="urn:microsoft.com/office/officeart/2005/8/layout/orgChart1"/>
    <dgm:cxn modelId="{A979AA30-1F61-459E-AEAB-CA3435BB11A3}" type="presParOf" srcId="{39F5A7BD-C401-4946-8E8D-DC7CC7B34B77}" destId="{B230E744-2865-447F-9700-694E7867DAD2}" srcOrd="4" destOrd="0" presId="urn:microsoft.com/office/officeart/2005/8/layout/orgChart1"/>
    <dgm:cxn modelId="{B159DAFB-322E-44B3-970D-A6725FAAB9E8}" type="presParOf" srcId="{39F5A7BD-C401-4946-8E8D-DC7CC7B34B77}" destId="{ACC46383-826D-43E3-BFC3-5942F40599D0}" srcOrd="5" destOrd="0" presId="urn:microsoft.com/office/officeart/2005/8/layout/orgChart1"/>
    <dgm:cxn modelId="{EA15867D-448C-4D43-B19B-D0FB53B7C2C6}" type="presParOf" srcId="{ACC46383-826D-43E3-BFC3-5942F40599D0}" destId="{EFD6FB6C-C1C9-4784-99DE-6D821521C9DF}" srcOrd="0" destOrd="0" presId="urn:microsoft.com/office/officeart/2005/8/layout/orgChart1"/>
    <dgm:cxn modelId="{E1798660-06E6-4344-A46E-1E0F64034601}" type="presParOf" srcId="{EFD6FB6C-C1C9-4784-99DE-6D821521C9DF}" destId="{2B9A1528-98E5-4569-A97E-BFDD511ED2EE}" srcOrd="0" destOrd="0" presId="urn:microsoft.com/office/officeart/2005/8/layout/orgChart1"/>
    <dgm:cxn modelId="{E9D54609-314B-40DF-8E2A-A06A6D832290}" type="presParOf" srcId="{EFD6FB6C-C1C9-4784-99DE-6D821521C9DF}" destId="{F2969774-8F45-4C87-8042-E0556A974281}" srcOrd="1" destOrd="0" presId="urn:microsoft.com/office/officeart/2005/8/layout/orgChart1"/>
    <dgm:cxn modelId="{0A4C0861-10B0-4275-B393-076F334FE464}" type="presParOf" srcId="{ACC46383-826D-43E3-BFC3-5942F40599D0}" destId="{777A1B9E-0655-4DC1-9FE5-F7A202A91968}" srcOrd="1" destOrd="0" presId="urn:microsoft.com/office/officeart/2005/8/layout/orgChart1"/>
    <dgm:cxn modelId="{446E2F12-D554-4441-8FAE-D0069E617014}" type="presParOf" srcId="{ACC46383-826D-43E3-BFC3-5942F40599D0}" destId="{618CB869-2372-4497-8365-8ACE3844D6F7}" srcOrd="2" destOrd="0" presId="urn:microsoft.com/office/officeart/2005/8/layout/orgChart1"/>
    <dgm:cxn modelId="{06DF8DB6-ACE3-4F20-9E1B-05835CF3F8A2}" type="presParOf" srcId="{9AE9DF00-383B-4713-BA68-B54DBAA73515}" destId="{67CD5DEB-3CC4-4710-BD2B-727E55A50877}" srcOrd="2" destOrd="0" presId="urn:microsoft.com/office/officeart/2005/8/layout/orgChart1"/>
    <dgm:cxn modelId="{837F536F-8ECD-4A14-B8A7-17321FC6C859}" type="presParOf" srcId="{AD9984FC-7F99-4311-B933-77886C628D45}" destId="{DDE103C2-4CA4-447B-AE83-5860DCE92497}" srcOrd="2" destOrd="0" presId="urn:microsoft.com/office/officeart/2005/8/layout/orgChart1"/>
    <dgm:cxn modelId="{D1492267-5C9E-472F-8459-228BFA014D6D}" type="presParOf" srcId="{AD9984FC-7F99-4311-B933-77886C628D45}" destId="{29231FD0-CEAA-4595-80EB-1743698D9785}" srcOrd="3" destOrd="0" presId="urn:microsoft.com/office/officeart/2005/8/layout/orgChart1"/>
    <dgm:cxn modelId="{D6B74D8E-5895-439D-8805-5616839C7C49}" type="presParOf" srcId="{29231FD0-CEAA-4595-80EB-1743698D9785}" destId="{06A444C9-CFA3-4404-BDC3-A69A2720E5BC}" srcOrd="0" destOrd="0" presId="urn:microsoft.com/office/officeart/2005/8/layout/orgChart1"/>
    <dgm:cxn modelId="{E17C92FC-D0C5-46FC-AE5F-C214FBABCCAB}" type="presParOf" srcId="{06A444C9-CFA3-4404-BDC3-A69A2720E5BC}" destId="{DFCAFEF8-DFFB-41E8-9B88-89EE67A118E4}" srcOrd="0" destOrd="0" presId="urn:microsoft.com/office/officeart/2005/8/layout/orgChart1"/>
    <dgm:cxn modelId="{D147BA3D-E8EB-4C9C-9BE1-019A60DF4246}" type="presParOf" srcId="{06A444C9-CFA3-4404-BDC3-A69A2720E5BC}" destId="{D3D0B91B-D5DA-4D9E-AD50-250415BF1051}" srcOrd="1" destOrd="0" presId="urn:microsoft.com/office/officeart/2005/8/layout/orgChart1"/>
    <dgm:cxn modelId="{56DDD12B-C4CF-438F-8F26-2B9D5A64FCF6}" type="presParOf" srcId="{29231FD0-CEAA-4595-80EB-1743698D9785}" destId="{2AB54AED-61CD-4953-8AE7-1CA69DF72D36}" srcOrd="1" destOrd="0" presId="urn:microsoft.com/office/officeart/2005/8/layout/orgChart1"/>
    <dgm:cxn modelId="{5CD973A6-9638-4DF8-B351-139AAFAA12E9}" type="presParOf" srcId="{2AB54AED-61CD-4953-8AE7-1CA69DF72D36}" destId="{BC06B786-1B4D-444A-9D4E-38A75AB08222}" srcOrd="0" destOrd="0" presId="urn:microsoft.com/office/officeart/2005/8/layout/orgChart1"/>
    <dgm:cxn modelId="{BE1B3B69-28FF-4EEC-A938-46087630F0F4}" type="presParOf" srcId="{2AB54AED-61CD-4953-8AE7-1CA69DF72D36}" destId="{CA135208-CC69-4BB5-A5BA-614F475A0845}" srcOrd="1" destOrd="0" presId="urn:microsoft.com/office/officeart/2005/8/layout/orgChart1"/>
    <dgm:cxn modelId="{6DC8E4D7-2363-4294-A9F7-D44EDBE0F251}" type="presParOf" srcId="{CA135208-CC69-4BB5-A5BA-614F475A0845}" destId="{B6310C4B-5E63-459A-9793-D0E83AB90C0F}" srcOrd="0" destOrd="0" presId="urn:microsoft.com/office/officeart/2005/8/layout/orgChart1"/>
    <dgm:cxn modelId="{C7726942-B34F-452E-8177-4776BE7D9DEB}" type="presParOf" srcId="{B6310C4B-5E63-459A-9793-D0E83AB90C0F}" destId="{B94123BB-5C69-4716-9BD0-9FEA21E7532F}" srcOrd="0" destOrd="0" presId="urn:microsoft.com/office/officeart/2005/8/layout/orgChart1"/>
    <dgm:cxn modelId="{DFFA5181-DFA6-4044-B0A8-6B01E4BC60DD}" type="presParOf" srcId="{B6310C4B-5E63-459A-9793-D0E83AB90C0F}" destId="{73E3B1CC-C012-4D44-9DD8-0993C59B7564}" srcOrd="1" destOrd="0" presId="urn:microsoft.com/office/officeart/2005/8/layout/orgChart1"/>
    <dgm:cxn modelId="{708830AF-7314-407E-9CED-DFF801F95335}" type="presParOf" srcId="{CA135208-CC69-4BB5-A5BA-614F475A0845}" destId="{539FD1D6-4F9B-486B-9D07-539C45900444}" srcOrd="1" destOrd="0" presId="urn:microsoft.com/office/officeart/2005/8/layout/orgChart1"/>
    <dgm:cxn modelId="{7AFF7F0E-A75F-4E2E-A6FD-E43ED0B1EB4D}" type="presParOf" srcId="{539FD1D6-4F9B-486B-9D07-539C45900444}" destId="{F6E89310-FC42-4CFC-AF78-B4FFFB7E26DF}" srcOrd="0" destOrd="0" presId="urn:microsoft.com/office/officeart/2005/8/layout/orgChart1"/>
    <dgm:cxn modelId="{101E5302-8CE5-4535-93FF-8935D17D6AF6}" type="presParOf" srcId="{539FD1D6-4F9B-486B-9D07-539C45900444}" destId="{443C6266-5459-4C77-B4EF-6781263F7325}" srcOrd="1" destOrd="0" presId="urn:microsoft.com/office/officeart/2005/8/layout/orgChart1"/>
    <dgm:cxn modelId="{256603B2-2328-4D46-B630-2C9DE807AFC0}" type="presParOf" srcId="{443C6266-5459-4C77-B4EF-6781263F7325}" destId="{47DD2F01-C4CD-4AD8-A166-CA4573B3C1F4}" srcOrd="0" destOrd="0" presId="urn:microsoft.com/office/officeart/2005/8/layout/orgChart1"/>
    <dgm:cxn modelId="{FFD66C4F-35EF-4768-BD53-C56599792991}" type="presParOf" srcId="{47DD2F01-C4CD-4AD8-A166-CA4573B3C1F4}" destId="{880978F7-F988-4489-B57D-9BE0F4E9EEAC}" srcOrd="0" destOrd="0" presId="urn:microsoft.com/office/officeart/2005/8/layout/orgChart1"/>
    <dgm:cxn modelId="{DEFD5095-CB34-47D6-9447-C1F4FEA55E1B}" type="presParOf" srcId="{47DD2F01-C4CD-4AD8-A166-CA4573B3C1F4}" destId="{643E314E-EA7C-4D66-9F1B-C22FCC401F1F}" srcOrd="1" destOrd="0" presId="urn:microsoft.com/office/officeart/2005/8/layout/orgChart1"/>
    <dgm:cxn modelId="{B5279057-57B1-4855-B00C-2156470B58B4}" type="presParOf" srcId="{443C6266-5459-4C77-B4EF-6781263F7325}" destId="{3468B4C6-C4F4-4590-9E56-35464FA2F82B}" srcOrd="1" destOrd="0" presId="urn:microsoft.com/office/officeart/2005/8/layout/orgChart1"/>
    <dgm:cxn modelId="{C948BF31-C361-4501-B0BA-8A440CC54FA8}" type="presParOf" srcId="{443C6266-5459-4C77-B4EF-6781263F7325}" destId="{F3A9735E-B8A3-4753-B6F0-55EDD3324849}" srcOrd="2" destOrd="0" presId="urn:microsoft.com/office/officeart/2005/8/layout/orgChart1"/>
    <dgm:cxn modelId="{273F0C45-80F7-495A-B5D9-8603A8D43C05}" type="presParOf" srcId="{539FD1D6-4F9B-486B-9D07-539C45900444}" destId="{3AA59A54-575E-4550-8B2A-8AC8C518C2D0}" srcOrd="2" destOrd="0" presId="urn:microsoft.com/office/officeart/2005/8/layout/orgChart1"/>
    <dgm:cxn modelId="{41910ACC-082B-4DB2-940E-5CAE856D5F33}" type="presParOf" srcId="{539FD1D6-4F9B-486B-9D07-539C45900444}" destId="{6F23BB86-01D9-4FA2-855E-0F726C05403C}" srcOrd="3" destOrd="0" presId="urn:microsoft.com/office/officeart/2005/8/layout/orgChart1"/>
    <dgm:cxn modelId="{6F24BC1D-EE77-46A1-BB81-97B3AF633080}" type="presParOf" srcId="{6F23BB86-01D9-4FA2-855E-0F726C05403C}" destId="{4D564190-68AC-4C6C-93D9-5888AEBA535F}" srcOrd="0" destOrd="0" presId="urn:microsoft.com/office/officeart/2005/8/layout/orgChart1"/>
    <dgm:cxn modelId="{AE788BF5-0F0B-4B7B-A482-F4054E344175}" type="presParOf" srcId="{4D564190-68AC-4C6C-93D9-5888AEBA535F}" destId="{B1021DFA-FA95-459D-BF01-9F752CEA2459}" srcOrd="0" destOrd="0" presId="urn:microsoft.com/office/officeart/2005/8/layout/orgChart1"/>
    <dgm:cxn modelId="{4D7A62E2-FA6D-432B-91D5-86A5FF9FEE24}" type="presParOf" srcId="{4D564190-68AC-4C6C-93D9-5888AEBA535F}" destId="{0059C62F-FB7E-4C2B-83B8-6059DCC5FEF4}" srcOrd="1" destOrd="0" presId="urn:microsoft.com/office/officeart/2005/8/layout/orgChart1"/>
    <dgm:cxn modelId="{9B81A3DF-4D33-4DF7-9F39-DA371CDE281B}" type="presParOf" srcId="{6F23BB86-01D9-4FA2-855E-0F726C05403C}" destId="{71D1FC70-6453-4D20-BF40-2D9917A25D0C}" srcOrd="1" destOrd="0" presId="urn:microsoft.com/office/officeart/2005/8/layout/orgChart1"/>
    <dgm:cxn modelId="{EF72FBE8-5D8E-4991-9B86-2F1014435CE4}" type="presParOf" srcId="{6F23BB86-01D9-4FA2-855E-0F726C05403C}" destId="{0FA0B279-C140-4ADE-A2D5-512CB8D04118}" srcOrd="2" destOrd="0" presId="urn:microsoft.com/office/officeart/2005/8/layout/orgChart1"/>
    <dgm:cxn modelId="{213390CD-5049-40D8-87D4-5118041DB13A}" type="presParOf" srcId="{539FD1D6-4F9B-486B-9D07-539C45900444}" destId="{5A26A813-4E7D-4C7C-B46A-DCC75B4E2BC1}" srcOrd="4" destOrd="0" presId="urn:microsoft.com/office/officeart/2005/8/layout/orgChart1"/>
    <dgm:cxn modelId="{B2D5CD0B-CB26-43B0-8B17-AA301C6779CD}" type="presParOf" srcId="{539FD1D6-4F9B-486B-9D07-539C45900444}" destId="{18F52984-CF52-4197-AA08-31EA4AA34E73}" srcOrd="5" destOrd="0" presId="urn:microsoft.com/office/officeart/2005/8/layout/orgChart1"/>
    <dgm:cxn modelId="{7EFCC4C1-820F-4E3C-B0F9-C8BDC9727FA2}" type="presParOf" srcId="{18F52984-CF52-4197-AA08-31EA4AA34E73}" destId="{7BA7415C-1DB8-42AF-8B1C-67A12FD47559}" srcOrd="0" destOrd="0" presId="urn:microsoft.com/office/officeart/2005/8/layout/orgChart1"/>
    <dgm:cxn modelId="{9B1218FC-568B-4120-9473-F400367F8952}" type="presParOf" srcId="{7BA7415C-1DB8-42AF-8B1C-67A12FD47559}" destId="{411B939B-CA8D-42F2-9237-884A761B99C7}" srcOrd="0" destOrd="0" presId="urn:microsoft.com/office/officeart/2005/8/layout/orgChart1"/>
    <dgm:cxn modelId="{D18187F9-EAB9-4A0D-808A-E506B0188825}" type="presParOf" srcId="{7BA7415C-1DB8-42AF-8B1C-67A12FD47559}" destId="{05990123-91C8-4078-910F-84DBB4BD61BE}" srcOrd="1" destOrd="0" presId="urn:microsoft.com/office/officeart/2005/8/layout/orgChart1"/>
    <dgm:cxn modelId="{03E2FC2B-F241-4552-A689-D1C08E39758C}" type="presParOf" srcId="{18F52984-CF52-4197-AA08-31EA4AA34E73}" destId="{E5888ABA-5111-484E-87B6-31F240121CC9}" srcOrd="1" destOrd="0" presId="urn:microsoft.com/office/officeart/2005/8/layout/orgChart1"/>
    <dgm:cxn modelId="{452D2518-6319-4D85-B209-D7EA0056EF00}" type="presParOf" srcId="{18F52984-CF52-4197-AA08-31EA4AA34E73}" destId="{4AEDB295-A96A-418D-8AFC-E85EB2F09197}" srcOrd="2" destOrd="0" presId="urn:microsoft.com/office/officeart/2005/8/layout/orgChart1"/>
    <dgm:cxn modelId="{FDE35C06-BE35-4DE2-B07B-8926D88F9286}" type="presParOf" srcId="{CA135208-CC69-4BB5-A5BA-614F475A0845}" destId="{701A84C8-1A3D-43CD-A4A6-3853956BE1EE}" srcOrd="2" destOrd="0" presId="urn:microsoft.com/office/officeart/2005/8/layout/orgChart1"/>
    <dgm:cxn modelId="{E2944750-CD7B-43CD-9A9C-666821F4A1B2}" type="presParOf" srcId="{2AB54AED-61CD-4953-8AE7-1CA69DF72D36}" destId="{92418032-8E20-485F-8805-50BA71082A60}" srcOrd="2" destOrd="0" presId="urn:microsoft.com/office/officeart/2005/8/layout/orgChart1"/>
    <dgm:cxn modelId="{DCBFC681-350F-491F-86CB-AA79AB55468F}" type="presParOf" srcId="{2AB54AED-61CD-4953-8AE7-1CA69DF72D36}" destId="{EE4E1629-A001-4495-BBE3-BCED3F6DE9D1}" srcOrd="3" destOrd="0" presId="urn:microsoft.com/office/officeart/2005/8/layout/orgChart1"/>
    <dgm:cxn modelId="{465E2F01-B1C7-4097-9A76-CBC4BF8A47A5}" type="presParOf" srcId="{EE4E1629-A001-4495-BBE3-BCED3F6DE9D1}" destId="{D40573E9-C86C-4708-BE67-9F76D437AD31}" srcOrd="0" destOrd="0" presId="urn:microsoft.com/office/officeart/2005/8/layout/orgChart1"/>
    <dgm:cxn modelId="{A535D6E9-839C-4B6B-B391-81FACF156856}" type="presParOf" srcId="{D40573E9-C86C-4708-BE67-9F76D437AD31}" destId="{E060FA0A-299D-41EB-81B2-4FB6923B8E59}" srcOrd="0" destOrd="0" presId="urn:microsoft.com/office/officeart/2005/8/layout/orgChart1"/>
    <dgm:cxn modelId="{FC6AAB2D-B3B7-4341-BCD4-A77116304925}" type="presParOf" srcId="{D40573E9-C86C-4708-BE67-9F76D437AD31}" destId="{6B341FC9-A90F-461D-B748-FE2200498CFB}" srcOrd="1" destOrd="0" presId="urn:microsoft.com/office/officeart/2005/8/layout/orgChart1"/>
    <dgm:cxn modelId="{A6DE9BD2-7FFC-4E14-9316-201FB4E40911}" type="presParOf" srcId="{EE4E1629-A001-4495-BBE3-BCED3F6DE9D1}" destId="{B5E4BA40-A809-4A41-84F1-FE51E8872133}" srcOrd="1" destOrd="0" presId="urn:microsoft.com/office/officeart/2005/8/layout/orgChart1"/>
    <dgm:cxn modelId="{AB5AEFD4-9006-4181-A154-8522F1888756}" type="presParOf" srcId="{B5E4BA40-A809-4A41-84F1-FE51E8872133}" destId="{51599ED6-4B63-44D0-96DD-4ED365750D0F}" srcOrd="0" destOrd="0" presId="urn:microsoft.com/office/officeart/2005/8/layout/orgChart1"/>
    <dgm:cxn modelId="{E9BBFF8B-4EBC-4937-A65C-F45D3AFFC62B}" type="presParOf" srcId="{B5E4BA40-A809-4A41-84F1-FE51E8872133}" destId="{451889E8-8C61-4F9C-9DC1-5705FE699C5F}" srcOrd="1" destOrd="0" presId="urn:microsoft.com/office/officeart/2005/8/layout/orgChart1"/>
    <dgm:cxn modelId="{1A3AADF1-2F4C-49AB-BEE1-8E5B4C25A4F6}" type="presParOf" srcId="{451889E8-8C61-4F9C-9DC1-5705FE699C5F}" destId="{A5DC8DA7-9B06-46A8-9CDC-3D5D5145247E}" srcOrd="0" destOrd="0" presId="urn:microsoft.com/office/officeart/2005/8/layout/orgChart1"/>
    <dgm:cxn modelId="{E4E3BDAD-EFA8-4A94-9C3B-38024EBA9D74}" type="presParOf" srcId="{A5DC8DA7-9B06-46A8-9CDC-3D5D5145247E}" destId="{707E384A-0166-40E8-BC09-51D21E629430}" srcOrd="0" destOrd="0" presId="urn:microsoft.com/office/officeart/2005/8/layout/orgChart1"/>
    <dgm:cxn modelId="{8C213B62-EB27-45CD-B53C-1AD74B3177B8}" type="presParOf" srcId="{A5DC8DA7-9B06-46A8-9CDC-3D5D5145247E}" destId="{F1EB95CA-7638-425F-AD72-3FA818B678CE}" srcOrd="1" destOrd="0" presId="urn:microsoft.com/office/officeart/2005/8/layout/orgChart1"/>
    <dgm:cxn modelId="{CD8B8B5A-831E-4297-A981-8950B6D96A44}" type="presParOf" srcId="{451889E8-8C61-4F9C-9DC1-5705FE699C5F}" destId="{8D8524BC-ED9E-4D26-BBC3-032F994F75BA}" srcOrd="1" destOrd="0" presId="urn:microsoft.com/office/officeart/2005/8/layout/orgChart1"/>
    <dgm:cxn modelId="{689AC16F-D49D-4682-914E-AB2ACAA62FF1}" type="presParOf" srcId="{451889E8-8C61-4F9C-9DC1-5705FE699C5F}" destId="{D0840488-2CB5-46F7-8F07-C77247AF921E}" srcOrd="2" destOrd="0" presId="urn:microsoft.com/office/officeart/2005/8/layout/orgChart1"/>
    <dgm:cxn modelId="{B728AAE5-3AD4-4191-88BE-61CEB3E956AD}" type="presParOf" srcId="{B5E4BA40-A809-4A41-84F1-FE51E8872133}" destId="{1DCCFC51-7331-48D1-8041-30007ED84642}" srcOrd="2" destOrd="0" presId="urn:microsoft.com/office/officeart/2005/8/layout/orgChart1"/>
    <dgm:cxn modelId="{F835FEAA-38DD-416A-93C5-22CD03787EBA}" type="presParOf" srcId="{B5E4BA40-A809-4A41-84F1-FE51E8872133}" destId="{63A07131-0003-4C18-9A8A-61AFFD5F3B58}" srcOrd="3" destOrd="0" presId="urn:microsoft.com/office/officeart/2005/8/layout/orgChart1"/>
    <dgm:cxn modelId="{4C806BEA-3274-4F7D-A00E-3F9476D6FD3C}" type="presParOf" srcId="{63A07131-0003-4C18-9A8A-61AFFD5F3B58}" destId="{CA33319E-59EE-4DB7-B540-299B95DB065B}" srcOrd="0" destOrd="0" presId="urn:microsoft.com/office/officeart/2005/8/layout/orgChart1"/>
    <dgm:cxn modelId="{553830D0-CD0E-4282-A09C-1003ACB59F88}" type="presParOf" srcId="{CA33319E-59EE-4DB7-B540-299B95DB065B}" destId="{FDC9A1DD-925E-4747-B1B2-180007BFD7FC}" srcOrd="0" destOrd="0" presId="urn:microsoft.com/office/officeart/2005/8/layout/orgChart1"/>
    <dgm:cxn modelId="{67C8BE4D-E1CD-4BE1-AE7C-A8E27CC7473C}" type="presParOf" srcId="{CA33319E-59EE-4DB7-B540-299B95DB065B}" destId="{A86B640B-50FE-4D2E-BBC3-3ACA06100E26}" srcOrd="1" destOrd="0" presId="urn:microsoft.com/office/officeart/2005/8/layout/orgChart1"/>
    <dgm:cxn modelId="{37B4CF2C-DEF8-40F5-8618-13519D7628B8}" type="presParOf" srcId="{63A07131-0003-4C18-9A8A-61AFFD5F3B58}" destId="{BAB27FB0-68A6-4CEC-958B-C95BF0C37234}" srcOrd="1" destOrd="0" presId="urn:microsoft.com/office/officeart/2005/8/layout/orgChart1"/>
    <dgm:cxn modelId="{9A13AC71-BB6B-4825-A76C-1206F51B5154}" type="presParOf" srcId="{63A07131-0003-4C18-9A8A-61AFFD5F3B58}" destId="{616AF147-B40A-4D27-B2BB-5E8C82DC749A}" srcOrd="2" destOrd="0" presId="urn:microsoft.com/office/officeart/2005/8/layout/orgChart1"/>
    <dgm:cxn modelId="{4C144CA8-2CB2-4D09-8998-BE2AF53F8F85}" type="presParOf" srcId="{B5E4BA40-A809-4A41-84F1-FE51E8872133}" destId="{0D137469-BFA2-4F7E-ABC0-69DF396BDF41}" srcOrd="4" destOrd="0" presId="urn:microsoft.com/office/officeart/2005/8/layout/orgChart1"/>
    <dgm:cxn modelId="{7FE88342-8A07-46CB-90F1-B12E7FFF9030}" type="presParOf" srcId="{B5E4BA40-A809-4A41-84F1-FE51E8872133}" destId="{D69C6367-02F1-4ED5-81F7-01AB9BB94847}" srcOrd="5" destOrd="0" presId="urn:microsoft.com/office/officeart/2005/8/layout/orgChart1"/>
    <dgm:cxn modelId="{552A8134-2617-444A-B95A-BB919D46EA26}" type="presParOf" srcId="{D69C6367-02F1-4ED5-81F7-01AB9BB94847}" destId="{B1212747-B278-4727-8DB5-D195F5C4D4F1}" srcOrd="0" destOrd="0" presId="urn:microsoft.com/office/officeart/2005/8/layout/orgChart1"/>
    <dgm:cxn modelId="{0AD95223-3B03-45B8-A277-9F361B5BA8B6}" type="presParOf" srcId="{B1212747-B278-4727-8DB5-D195F5C4D4F1}" destId="{86776B51-7633-47EF-9436-8E84E12EAB15}" srcOrd="0" destOrd="0" presId="urn:microsoft.com/office/officeart/2005/8/layout/orgChart1"/>
    <dgm:cxn modelId="{7F88E30D-C89F-472E-9709-B85DC7B32461}" type="presParOf" srcId="{B1212747-B278-4727-8DB5-D195F5C4D4F1}" destId="{EBA3902B-0066-4E27-A5B6-C977AE898D0F}" srcOrd="1" destOrd="0" presId="urn:microsoft.com/office/officeart/2005/8/layout/orgChart1"/>
    <dgm:cxn modelId="{FBCAD9F6-281E-4119-9701-8DA7AA9EA258}" type="presParOf" srcId="{D69C6367-02F1-4ED5-81F7-01AB9BB94847}" destId="{3DDEA176-37AA-4CFC-9283-9A4B4C5FFDEC}" srcOrd="1" destOrd="0" presId="urn:microsoft.com/office/officeart/2005/8/layout/orgChart1"/>
    <dgm:cxn modelId="{D0F15468-133A-4865-8E46-E9B9C69C4023}" type="presParOf" srcId="{D69C6367-02F1-4ED5-81F7-01AB9BB94847}" destId="{092C40CD-FF70-4884-9107-2D674F8F549E}" srcOrd="2" destOrd="0" presId="urn:microsoft.com/office/officeart/2005/8/layout/orgChart1"/>
    <dgm:cxn modelId="{969DB6A7-220C-4C64-A3D4-13398EC228E4}" type="presParOf" srcId="{EE4E1629-A001-4495-BBE3-BCED3F6DE9D1}" destId="{36CA6486-F751-4979-8D2D-C64FB7D576B7}" srcOrd="2" destOrd="0" presId="urn:microsoft.com/office/officeart/2005/8/layout/orgChart1"/>
    <dgm:cxn modelId="{9DCE5A72-B574-4DD6-B868-F9221916B937}" type="presParOf" srcId="{2AB54AED-61CD-4953-8AE7-1CA69DF72D36}" destId="{17D693B3-85E2-41C5-89EE-2FCFD404A5A1}" srcOrd="4" destOrd="0" presId="urn:microsoft.com/office/officeart/2005/8/layout/orgChart1"/>
    <dgm:cxn modelId="{AA2DA700-EEF4-4344-98EA-A0B49D25D86C}" type="presParOf" srcId="{2AB54AED-61CD-4953-8AE7-1CA69DF72D36}" destId="{B78A7FB5-8119-476E-ABA1-6EAE0B891D6C}" srcOrd="5" destOrd="0" presId="urn:microsoft.com/office/officeart/2005/8/layout/orgChart1"/>
    <dgm:cxn modelId="{C5DEA41C-33A6-4706-BEA7-7A5B6FBE2DE0}" type="presParOf" srcId="{B78A7FB5-8119-476E-ABA1-6EAE0B891D6C}" destId="{1C065E87-D2C6-428A-A389-9496BCB12C37}" srcOrd="0" destOrd="0" presId="urn:microsoft.com/office/officeart/2005/8/layout/orgChart1"/>
    <dgm:cxn modelId="{BB7D2C13-3411-44C1-951C-D9BC60897B36}" type="presParOf" srcId="{1C065E87-D2C6-428A-A389-9496BCB12C37}" destId="{4A10340A-ECB6-40C6-9EA3-D4E95677B291}" srcOrd="0" destOrd="0" presId="urn:microsoft.com/office/officeart/2005/8/layout/orgChart1"/>
    <dgm:cxn modelId="{CAE10CD4-C20A-4A2F-BE1F-00EB3E081F99}" type="presParOf" srcId="{1C065E87-D2C6-428A-A389-9496BCB12C37}" destId="{3F3BB1CC-87F6-4061-92BB-2476E625BF5A}" srcOrd="1" destOrd="0" presId="urn:microsoft.com/office/officeart/2005/8/layout/orgChart1"/>
    <dgm:cxn modelId="{3FC3D8FB-3EF0-46CD-89C5-9C849A5C4C29}" type="presParOf" srcId="{B78A7FB5-8119-476E-ABA1-6EAE0B891D6C}" destId="{26DCBAC3-BCE8-4718-A613-FE0A05775CAB}" srcOrd="1" destOrd="0" presId="urn:microsoft.com/office/officeart/2005/8/layout/orgChart1"/>
    <dgm:cxn modelId="{F6E4EAFC-7F14-4A9F-A16D-BA13EADA6738}" type="presParOf" srcId="{B78A7FB5-8119-476E-ABA1-6EAE0B891D6C}" destId="{628F8929-1691-45AA-BEA1-3C2D3E455544}" srcOrd="2" destOrd="0" presId="urn:microsoft.com/office/officeart/2005/8/layout/orgChart1"/>
    <dgm:cxn modelId="{8376CB76-E552-4F9A-B6F1-83EC9251A2B9}" type="presParOf" srcId="{29231FD0-CEAA-4595-80EB-1743698D9785}" destId="{D9249E9C-1838-4360-939A-8A6F90A5D090}" srcOrd="2" destOrd="0" presId="urn:microsoft.com/office/officeart/2005/8/layout/orgChart1"/>
    <dgm:cxn modelId="{1FC87680-EDF8-49CA-AD5D-D61F3B496157}" type="presParOf" srcId="{AD9984FC-7F99-4311-B933-77886C628D45}" destId="{892868DE-FA3F-456B-9909-93FE86A72657}" srcOrd="4" destOrd="0" presId="urn:microsoft.com/office/officeart/2005/8/layout/orgChart1"/>
    <dgm:cxn modelId="{46F41F30-C6BF-401C-932F-2BB528752AC4}" type="presParOf" srcId="{AD9984FC-7F99-4311-B933-77886C628D45}" destId="{0E216B59-E868-492C-BD11-4798F5EA1D95}" srcOrd="5" destOrd="0" presId="urn:microsoft.com/office/officeart/2005/8/layout/orgChart1"/>
    <dgm:cxn modelId="{E192DF12-47D8-4B61-9BBA-3571B0F16070}" type="presParOf" srcId="{0E216B59-E868-492C-BD11-4798F5EA1D95}" destId="{E14A9FF6-67F7-410C-BF12-CFA132B59700}" srcOrd="0" destOrd="0" presId="urn:microsoft.com/office/officeart/2005/8/layout/orgChart1"/>
    <dgm:cxn modelId="{85888260-8C40-45D3-A460-9BA6B6B32E86}" type="presParOf" srcId="{E14A9FF6-67F7-410C-BF12-CFA132B59700}" destId="{C51BF866-E3D8-4FC4-B274-A6EE0B240849}" srcOrd="0" destOrd="0" presId="urn:microsoft.com/office/officeart/2005/8/layout/orgChart1"/>
    <dgm:cxn modelId="{355BA334-7BC4-4669-9636-9202461F550C}" type="presParOf" srcId="{E14A9FF6-67F7-410C-BF12-CFA132B59700}" destId="{9FC59AA9-3FB9-48CD-A049-2DE9A8B55DEA}" srcOrd="1" destOrd="0" presId="urn:microsoft.com/office/officeart/2005/8/layout/orgChart1"/>
    <dgm:cxn modelId="{5931DAC0-2819-415F-B659-A09582C3FF63}" type="presParOf" srcId="{0E216B59-E868-492C-BD11-4798F5EA1D95}" destId="{6F0073A2-73A2-44F1-B906-37C2B7ACF91D}" srcOrd="1" destOrd="0" presId="urn:microsoft.com/office/officeart/2005/8/layout/orgChart1"/>
    <dgm:cxn modelId="{48CD83E6-4EFF-4394-91D7-3C42331C6E17}" type="presParOf" srcId="{6F0073A2-73A2-44F1-B906-37C2B7ACF91D}" destId="{84E53F8E-6E5B-403B-B889-B62778314B75}" srcOrd="0" destOrd="0" presId="urn:microsoft.com/office/officeart/2005/8/layout/orgChart1"/>
    <dgm:cxn modelId="{5BAF08FA-D7F9-43AE-863E-29E4368AB3C6}" type="presParOf" srcId="{6F0073A2-73A2-44F1-B906-37C2B7ACF91D}" destId="{899FBC9C-3940-47F5-ABC2-010AB6D400B7}" srcOrd="1" destOrd="0" presId="urn:microsoft.com/office/officeart/2005/8/layout/orgChart1"/>
    <dgm:cxn modelId="{61D3190E-E418-488E-9758-7A4B892C55D7}" type="presParOf" srcId="{899FBC9C-3940-47F5-ABC2-010AB6D400B7}" destId="{F96F9467-0966-4B39-96F9-34CA5C0A823D}" srcOrd="0" destOrd="0" presId="urn:microsoft.com/office/officeart/2005/8/layout/orgChart1"/>
    <dgm:cxn modelId="{320E5C3F-B0D6-40C1-B447-0BB4361163E8}" type="presParOf" srcId="{F96F9467-0966-4B39-96F9-34CA5C0A823D}" destId="{BEE4DAED-CBD4-4693-A8F1-DAE1E58BFF08}" srcOrd="0" destOrd="0" presId="urn:microsoft.com/office/officeart/2005/8/layout/orgChart1"/>
    <dgm:cxn modelId="{2A5B7EF0-3ECD-4856-8FEA-D4D025640F3B}" type="presParOf" srcId="{F96F9467-0966-4B39-96F9-34CA5C0A823D}" destId="{905E1A0E-62B5-41AC-806E-E4B1486D8B4A}" srcOrd="1" destOrd="0" presId="urn:microsoft.com/office/officeart/2005/8/layout/orgChart1"/>
    <dgm:cxn modelId="{01F910A5-F2C9-4758-B3E4-9C4F447B7838}" type="presParOf" srcId="{899FBC9C-3940-47F5-ABC2-010AB6D400B7}" destId="{5DD70322-CA02-4852-A83F-850D0AEF9A16}" srcOrd="1" destOrd="0" presId="urn:microsoft.com/office/officeart/2005/8/layout/orgChart1"/>
    <dgm:cxn modelId="{1FBF32C7-65DF-42F2-9AE9-7F33300837AB}" type="presParOf" srcId="{899FBC9C-3940-47F5-ABC2-010AB6D400B7}" destId="{DBF4D1F3-1E9F-4AAA-9505-4D25926A5DA7}" srcOrd="2" destOrd="0" presId="urn:microsoft.com/office/officeart/2005/8/layout/orgChart1"/>
    <dgm:cxn modelId="{F336C91A-182E-45BA-AF33-614F786D4444}" type="presParOf" srcId="{0E216B59-E868-492C-BD11-4798F5EA1D95}" destId="{5FD77B48-F092-41B0-9711-63E42E8C3D5D}" srcOrd="2" destOrd="0" presId="urn:microsoft.com/office/officeart/2005/8/layout/orgChart1"/>
    <dgm:cxn modelId="{9A09D383-02FF-493D-BAC3-AB573B0777E4}" type="presParOf" srcId="{AD9984FC-7F99-4311-B933-77886C628D45}" destId="{A0FA2BE3-C156-41E9-B6B1-FB6E8B146081}" srcOrd="6" destOrd="0" presId="urn:microsoft.com/office/officeart/2005/8/layout/orgChart1"/>
    <dgm:cxn modelId="{0ED504A6-21CE-4B02-9F41-0F28005DED74}" type="presParOf" srcId="{AD9984FC-7F99-4311-B933-77886C628D45}" destId="{55E97DE9-2658-46C3-AA7F-9081337C0CE6}" srcOrd="7" destOrd="0" presId="urn:microsoft.com/office/officeart/2005/8/layout/orgChart1"/>
    <dgm:cxn modelId="{F9D452A0-F466-4A8A-A337-BA95B1264A3F}" type="presParOf" srcId="{55E97DE9-2658-46C3-AA7F-9081337C0CE6}" destId="{7278F037-FE75-42AF-A33B-E9EC1B5F55AE}" srcOrd="0" destOrd="0" presId="urn:microsoft.com/office/officeart/2005/8/layout/orgChart1"/>
    <dgm:cxn modelId="{1048170E-5CC1-4336-B63A-5A36B01E17DE}" type="presParOf" srcId="{7278F037-FE75-42AF-A33B-E9EC1B5F55AE}" destId="{06DD17CA-236E-4859-BB61-E237B20DA056}" srcOrd="0" destOrd="0" presId="urn:microsoft.com/office/officeart/2005/8/layout/orgChart1"/>
    <dgm:cxn modelId="{3EF2A072-7193-4755-9EA9-BD31CE15D00E}" type="presParOf" srcId="{7278F037-FE75-42AF-A33B-E9EC1B5F55AE}" destId="{CE9B3F3F-0753-4FDB-8553-F978A8D06C9D}" srcOrd="1" destOrd="0" presId="urn:microsoft.com/office/officeart/2005/8/layout/orgChart1"/>
    <dgm:cxn modelId="{7D16F7AA-F1DB-4BF7-8441-0DBEC39D8A02}" type="presParOf" srcId="{55E97DE9-2658-46C3-AA7F-9081337C0CE6}" destId="{EBB02D9D-45D3-4AD4-B38C-03408A9E346F}" srcOrd="1" destOrd="0" presId="urn:microsoft.com/office/officeart/2005/8/layout/orgChart1"/>
    <dgm:cxn modelId="{8C18D6A1-7814-4508-B68D-F37EAF7F9833}" type="presParOf" srcId="{EBB02D9D-45D3-4AD4-B38C-03408A9E346F}" destId="{65644B6A-B35C-43AC-95BF-81D0FBD1F32B}" srcOrd="0" destOrd="0" presId="urn:microsoft.com/office/officeart/2005/8/layout/orgChart1"/>
    <dgm:cxn modelId="{CB0E6349-7370-4965-A700-EDE45F705D77}" type="presParOf" srcId="{EBB02D9D-45D3-4AD4-B38C-03408A9E346F}" destId="{7AC2A668-A0FB-423F-9A56-63CAA6F66689}" srcOrd="1" destOrd="0" presId="urn:microsoft.com/office/officeart/2005/8/layout/orgChart1"/>
    <dgm:cxn modelId="{7E2DF5F0-FCBB-4A76-9642-C7E3A0FE5A41}" type="presParOf" srcId="{7AC2A668-A0FB-423F-9A56-63CAA6F66689}" destId="{CC1AA8BF-4DFA-43C2-9E27-A03F4DD9DA5F}" srcOrd="0" destOrd="0" presId="urn:microsoft.com/office/officeart/2005/8/layout/orgChart1"/>
    <dgm:cxn modelId="{6A1CF8CE-B48B-45E6-86B7-F94D95E0D316}" type="presParOf" srcId="{CC1AA8BF-4DFA-43C2-9E27-A03F4DD9DA5F}" destId="{79D8400B-1F2F-4117-B29C-3D91FB785401}" srcOrd="0" destOrd="0" presId="urn:microsoft.com/office/officeart/2005/8/layout/orgChart1"/>
    <dgm:cxn modelId="{B5A8FDAD-5E57-447E-BAA3-B4AC39B2CC7A}" type="presParOf" srcId="{CC1AA8BF-4DFA-43C2-9E27-A03F4DD9DA5F}" destId="{ECF11ACD-178D-4F8E-A3A2-41D0111A5926}" srcOrd="1" destOrd="0" presId="urn:microsoft.com/office/officeart/2005/8/layout/orgChart1"/>
    <dgm:cxn modelId="{29C05F84-735C-45C9-9A1C-57B4B4A0249F}" type="presParOf" srcId="{7AC2A668-A0FB-423F-9A56-63CAA6F66689}" destId="{B28A5947-E463-4147-8E7E-7CA42B1ECFC7}" srcOrd="1" destOrd="0" presId="urn:microsoft.com/office/officeart/2005/8/layout/orgChart1"/>
    <dgm:cxn modelId="{61DBE40E-110F-4225-A816-CDC73159FB4C}" type="presParOf" srcId="{7AC2A668-A0FB-423F-9A56-63CAA6F66689}" destId="{BC47138C-998D-4630-A219-94AF01A1309F}" srcOrd="2" destOrd="0" presId="urn:microsoft.com/office/officeart/2005/8/layout/orgChart1"/>
    <dgm:cxn modelId="{7556268F-4665-49E7-BE7F-3359DF230487}" type="presParOf" srcId="{55E97DE9-2658-46C3-AA7F-9081337C0CE6}" destId="{F4CFEAEC-44C8-4006-A7C2-70AB8132E070}" srcOrd="2" destOrd="0" presId="urn:microsoft.com/office/officeart/2005/8/layout/orgChart1"/>
    <dgm:cxn modelId="{0CF511A7-F478-43DB-A940-5CEA5ABB3A22}" type="presParOf" srcId="{AD9984FC-7F99-4311-B933-77886C628D45}" destId="{9FDB9E89-80C5-4E4B-AA92-4CB2A56F7806}" srcOrd="8" destOrd="0" presId="urn:microsoft.com/office/officeart/2005/8/layout/orgChart1"/>
    <dgm:cxn modelId="{1BC6D01C-2ADF-4D75-8CE7-7C7D621F58EC}" type="presParOf" srcId="{AD9984FC-7F99-4311-B933-77886C628D45}" destId="{A7D6FE18-1575-4240-A64B-3E6376A8D682}" srcOrd="9" destOrd="0" presId="urn:microsoft.com/office/officeart/2005/8/layout/orgChart1"/>
    <dgm:cxn modelId="{AE84C3F7-6A59-4F7F-90FC-7CF8810CBBD4}" type="presParOf" srcId="{A7D6FE18-1575-4240-A64B-3E6376A8D682}" destId="{A3B2D5CC-B27B-4EE5-9CE7-97A67E2221BE}" srcOrd="0" destOrd="0" presId="urn:microsoft.com/office/officeart/2005/8/layout/orgChart1"/>
    <dgm:cxn modelId="{BC76525A-9AF7-41C2-A65F-0916747FCDA7}" type="presParOf" srcId="{A3B2D5CC-B27B-4EE5-9CE7-97A67E2221BE}" destId="{CF8F5B03-8EF0-4769-901F-CF9CC4C40B03}" srcOrd="0" destOrd="0" presId="urn:microsoft.com/office/officeart/2005/8/layout/orgChart1"/>
    <dgm:cxn modelId="{76754FC2-E702-4974-88A8-8CA52C5B1861}" type="presParOf" srcId="{A3B2D5CC-B27B-4EE5-9CE7-97A67E2221BE}" destId="{BE33EC69-DCCE-4279-8661-23BCE426065B}" srcOrd="1" destOrd="0" presId="urn:microsoft.com/office/officeart/2005/8/layout/orgChart1"/>
    <dgm:cxn modelId="{F23B7284-614A-4954-AD90-8D3C1E3A50BC}" type="presParOf" srcId="{A7D6FE18-1575-4240-A64B-3E6376A8D682}" destId="{6F1F71EF-9FD7-4EDD-8251-7211F4A734D5}" srcOrd="1" destOrd="0" presId="urn:microsoft.com/office/officeart/2005/8/layout/orgChart1"/>
    <dgm:cxn modelId="{6A6AECBA-5056-4DB8-81E5-C589E71764A9}" type="presParOf" srcId="{6F1F71EF-9FD7-4EDD-8251-7211F4A734D5}" destId="{26D1566E-00D3-4A49-BDC7-44A0C7303108}" srcOrd="0" destOrd="0" presId="urn:microsoft.com/office/officeart/2005/8/layout/orgChart1"/>
    <dgm:cxn modelId="{FBCCCC94-4C29-4702-8E6D-3BE71094A062}" type="presParOf" srcId="{6F1F71EF-9FD7-4EDD-8251-7211F4A734D5}" destId="{0CC64AF7-5B33-4AC8-80CC-BB582E127653}" srcOrd="1" destOrd="0" presId="urn:microsoft.com/office/officeart/2005/8/layout/orgChart1"/>
    <dgm:cxn modelId="{141E4449-D523-4DDF-90EC-EA4DB020B7E5}" type="presParOf" srcId="{0CC64AF7-5B33-4AC8-80CC-BB582E127653}" destId="{0EBEC5C3-0750-4CA4-86FD-01248A64590F}" srcOrd="0" destOrd="0" presId="urn:microsoft.com/office/officeart/2005/8/layout/orgChart1"/>
    <dgm:cxn modelId="{4331A616-DBD1-4581-A955-633D626A71A2}" type="presParOf" srcId="{0EBEC5C3-0750-4CA4-86FD-01248A64590F}" destId="{40DEABB1-37CA-4056-AEA9-636FE8B18E08}" srcOrd="0" destOrd="0" presId="urn:microsoft.com/office/officeart/2005/8/layout/orgChart1"/>
    <dgm:cxn modelId="{019DCEC9-684F-4C39-854C-B01159BEB85C}" type="presParOf" srcId="{0EBEC5C3-0750-4CA4-86FD-01248A64590F}" destId="{EEB1F393-CB7B-457A-A38C-FA97613553A7}" srcOrd="1" destOrd="0" presId="urn:microsoft.com/office/officeart/2005/8/layout/orgChart1"/>
    <dgm:cxn modelId="{8FF41DDC-414C-4157-91DB-6239867AFA6F}" type="presParOf" srcId="{0CC64AF7-5B33-4AC8-80CC-BB582E127653}" destId="{3454EF20-30C5-4552-9B07-9D88C617FD92}" srcOrd="1" destOrd="0" presId="urn:microsoft.com/office/officeart/2005/8/layout/orgChart1"/>
    <dgm:cxn modelId="{587D2A03-BA4F-4C72-A93E-51A68D4391CA}" type="presParOf" srcId="{0CC64AF7-5B33-4AC8-80CC-BB582E127653}" destId="{01E15278-ECC8-4295-8AB3-3A3F8E1D3DED}" srcOrd="2" destOrd="0" presId="urn:microsoft.com/office/officeart/2005/8/layout/orgChart1"/>
    <dgm:cxn modelId="{9B5A2259-17CF-447E-ABCF-80571B414E39}" type="presParOf" srcId="{A7D6FE18-1575-4240-A64B-3E6376A8D682}" destId="{4C40D3BD-9D39-4F1B-BE5A-6E06340FC034}" srcOrd="2" destOrd="0" presId="urn:microsoft.com/office/officeart/2005/8/layout/orgChart1"/>
    <dgm:cxn modelId="{3B190847-1C3D-42C7-91D5-2878C9097DF0}" type="presParOf" srcId="{70B04D6F-66A9-4FDE-AB32-DAD3550F22D3}" destId="{1DA138FB-A875-48C8-ACB9-70F4BB275716}" srcOrd="2" destOrd="0" presId="urn:microsoft.com/office/officeart/2005/8/layout/orgChart1"/>
    <dgm:cxn modelId="{5501284B-52DC-474E-8F5D-55694C955200}" type="presParOf" srcId="{B1A764D9-D96A-4B53-B856-AEF52D45A3BA}" destId="{A5DB6C09-2874-4A40-B4CB-F0AD3E4490FB}"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E97F07-166E-4646-8F3F-713BE98FF8D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6002B94-D09E-435C-A5F9-59D3BEF8FC71}">
      <dgm:prSet phldrT="[Text]"/>
      <dgm:spPr/>
      <dgm:t>
        <a:bodyPr/>
        <a:lstStyle/>
        <a:p>
          <a:r>
            <a:rPr lang="en-US" dirty="0"/>
            <a:t>Chief Program Officer</a:t>
          </a:r>
        </a:p>
      </dgm:t>
    </dgm:pt>
    <dgm:pt modelId="{187FCC7C-B3F3-47E0-9469-7908E98C35FA}" type="parTrans" cxnId="{C0C70E8D-9F04-472E-8162-02AD0AE082D1}">
      <dgm:prSet/>
      <dgm:spPr/>
      <dgm:t>
        <a:bodyPr/>
        <a:lstStyle/>
        <a:p>
          <a:endParaRPr lang="en-US"/>
        </a:p>
      </dgm:t>
    </dgm:pt>
    <dgm:pt modelId="{4E74CEF0-454A-4E7B-ADC8-EEA7E2B8954C}" type="sibTrans" cxnId="{C0C70E8D-9F04-472E-8162-02AD0AE082D1}">
      <dgm:prSet/>
      <dgm:spPr/>
      <dgm:t>
        <a:bodyPr/>
        <a:lstStyle/>
        <a:p>
          <a:endParaRPr lang="en-US"/>
        </a:p>
      </dgm:t>
    </dgm:pt>
    <dgm:pt modelId="{58135677-0A81-4361-B9C9-A005F11157E4}">
      <dgm:prSet phldrT="[Text]"/>
      <dgm:spPr/>
      <dgm:t>
        <a:bodyPr/>
        <a:lstStyle/>
        <a:p>
          <a:r>
            <a:rPr lang="en-US" dirty="0"/>
            <a:t>Director of Adult Clinical Services</a:t>
          </a:r>
        </a:p>
      </dgm:t>
    </dgm:pt>
    <dgm:pt modelId="{BE5A2021-5D71-4F6D-9B0F-CEFD2D18CB1F}" type="parTrans" cxnId="{9C3FF7A2-C17A-4B26-B03D-79ADCDF62B6E}">
      <dgm:prSet/>
      <dgm:spPr/>
      <dgm:t>
        <a:bodyPr/>
        <a:lstStyle/>
        <a:p>
          <a:endParaRPr lang="en-US"/>
        </a:p>
      </dgm:t>
    </dgm:pt>
    <dgm:pt modelId="{F9112C6D-31DC-40AE-B9B0-55E3CD1C3285}" type="sibTrans" cxnId="{9C3FF7A2-C17A-4B26-B03D-79ADCDF62B6E}">
      <dgm:prSet/>
      <dgm:spPr/>
      <dgm:t>
        <a:bodyPr/>
        <a:lstStyle/>
        <a:p>
          <a:endParaRPr lang="en-US"/>
        </a:p>
      </dgm:t>
    </dgm:pt>
    <dgm:pt modelId="{1E660F4A-C21D-4666-B444-EA668148BEC9}">
      <dgm:prSet phldrT="[Text]"/>
      <dgm:spPr/>
      <dgm:t>
        <a:bodyPr/>
        <a:lstStyle/>
        <a:p>
          <a:r>
            <a:rPr lang="en-US" dirty="0"/>
            <a:t>Director of Residential Services</a:t>
          </a:r>
        </a:p>
      </dgm:t>
    </dgm:pt>
    <dgm:pt modelId="{6D4D83F9-ED5B-4EBD-8DC6-82761541B51C}" type="parTrans" cxnId="{6D32B06F-F1AF-426A-B2FA-F91CA623B46A}">
      <dgm:prSet/>
      <dgm:spPr/>
      <dgm:t>
        <a:bodyPr/>
        <a:lstStyle/>
        <a:p>
          <a:endParaRPr lang="en-US"/>
        </a:p>
      </dgm:t>
    </dgm:pt>
    <dgm:pt modelId="{C2087265-D28F-4C72-A783-B2512599A560}" type="sibTrans" cxnId="{6D32B06F-F1AF-426A-B2FA-F91CA623B46A}">
      <dgm:prSet/>
      <dgm:spPr/>
      <dgm:t>
        <a:bodyPr/>
        <a:lstStyle/>
        <a:p>
          <a:endParaRPr lang="en-US"/>
        </a:p>
      </dgm:t>
    </dgm:pt>
    <dgm:pt modelId="{CE256C0F-58C1-4F13-B7D0-03965FF247A5}">
      <dgm:prSet/>
      <dgm:spPr/>
      <dgm:t>
        <a:bodyPr/>
        <a:lstStyle/>
        <a:p>
          <a:r>
            <a:rPr lang="en-US" dirty="0"/>
            <a:t>Adult Program Clinicians (2)</a:t>
          </a:r>
        </a:p>
      </dgm:t>
    </dgm:pt>
    <dgm:pt modelId="{2EF2E317-8BA1-4AD3-AA98-518B599CF03D}" type="parTrans" cxnId="{2523CDFB-F73A-4268-8EC5-3D29D8A4DFDE}">
      <dgm:prSet/>
      <dgm:spPr/>
      <dgm:t>
        <a:bodyPr/>
        <a:lstStyle/>
        <a:p>
          <a:endParaRPr lang="en-US"/>
        </a:p>
      </dgm:t>
    </dgm:pt>
    <dgm:pt modelId="{A8BF255E-71F0-4E9C-A30E-CA818FB313D2}" type="sibTrans" cxnId="{2523CDFB-F73A-4268-8EC5-3D29D8A4DFDE}">
      <dgm:prSet/>
      <dgm:spPr/>
      <dgm:t>
        <a:bodyPr/>
        <a:lstStyle/>
        <a:p>
          <a:endParaRPr lang="en-US"/>
        </a:p>
      </dgm:t>
    </dgm:pt>
    <dgm:pt modelId="{A69CAC79-E727-46E5-8420-778C913809BD}">
      <dgm:prSet/>
      <dgm:spPr/>
      <dgm:t>
        <a:bodyPr/>
        <a:lstStyle/>
        <a:p>
          <a:r>
            <a:rPr lang="en-US" dirty="0"/>
            <a:t>Associate Director of Residential Services</a:t>
          </a:r>
        </a:p>
        <a:p>
          <a:r>
            <a:rPr lang="en-US" dirty="0"/>
            <a:t>(Cluster A)</a:t>
          </a:r>
        </a:p>
      </dgm:t>
    </dgm:pt>
    <dgm:pt modelId="{CC8D337E-C20C-4BA9-86AC-BD788720C8DC}" type="parTrans" cxnId="{86EDC9D4-C00F-4A5A-9FD6-C05F4EAAC469}">
      <dgm:prSet/>
      <dgm:spPr/>
      <dgm:t>
        <a:bodyPr/>
        <a:lstStyle/>
        <a:p>
          <a:endParaRPr lang="en-US"/>
        </a:p>
      </dgm:t>
    </dgm:pt>
    <dgm:pt modelId="{D2B92C39-D7D1-4853-8350-7608AB444A9F}" type="sibTrans" cxnId="{86EDC9D4-C00F-4A5A-9FD6-C05F4EAAC469}">
      <dgm:prSet/>
      <dgm:spPr/>
      <dgm:t>
        <a:bodyPr/>
        <a:lstStyle/>
        <a:p>
          <a:endParaRPr lang="en-US"/>
        </a:p>
      </dgm:t>
    </dgm:pt>
    <dgm:pt modelId="{5C984B20-376D-48F2-88F2-683F4B072164}">
      <dgm:prSet/>
      <dgm:spPr/>
      <dgm:t>
        <a:bodyPr/>
        <a:lstStyle/>
        <a:p>
          <a:r>
            <a:rPr lang="en-US" dirty="0"/>
            <a:t>Associate Director of Residential Services (Cluster B)</a:t>
          </a:r>
        </a:p>
      </dgm:t>
    </dgm:pt>
    <dgm:pt modelId="{0FC88059-F50A-4CF7-99BB-565D150577DB}" type="parTrans" cxnId="{7420D478-CE38-47AB-866C-0C62A25A09A0}">
      <dgm:prSet/>
      <dgm:spPr/>
      <dgm:t>
        <a:bodyPr/>
        <a:lstStyle/>
        <a:p>
          <a:endParaRPr lang="en-US"/>
        </a:p>
      </dgm:t>
    </dgm:pt>
    <dgm:pt modelId="{1E8EF744-C8D8-4EBD-B1BA-E5A9C41CD90B}" type="sibTrans" cxnId="{7420D478-CE38-47AB-866C-0C62A25A09A0}">
      <dgm:prSet/>
      <dgm:spPr/>
      <dgm:t>
        <a:bodyPr/>
        <a:lstStyle/>
        <a:p>
          <a:endParaRPr lang="en-US"/>
        </a:p>
      </dgm:t>
    </dgm:pt>
    <dgm:pt modelId="{5EFD92EA-ED8B-4823-96BC-CC6C25A58373}">
      <dgm:prSet/>
      <dgm:spPr/>
      <dgm:t>
        <a:bodyPr/>
        <a:lstStyle/>
        <a:p>
          <a:r>
            <a:rPr lang="en-US" dirty="0"/>
            <a:t>Director of Health Services</a:t>
          </a:r>
        </a:p>
      </dgm:t>
    </dgm:pt>
    <dgm:pt modelId="{DF4A5801-5341-4F16-B8C8-D1B44E2DF77A}" type="parTrans" cxnId="{469FF849-2F3B-40E0-BA31-A643E2896528}">
      <dgm:prSet/>
      <dgm:spPr/>
      <dgm:t>
        <a:bodyPr/>
        <a:lstStyle/>
        <a:p>
          <a:endParaRPr lang="en-US"/>
        </a:p>
      </dgm:t>
    </dgm:pt>
    <dgm:pt modelId="{F34E0EEA-1636-42A1-8BC3-B76A48C7E346}" type="sibTrans" cxnId="{469FF849-2F3B-40E0-BA31-A643E2896528}">
      <dgm:prSet/>
      <dgm:spPr/>
      <dgm:t>
        <a:bodyPr/>
        <a:lstStyle/>
        <a:p>
          <a:endParaRPr lang="en-US"/>
        </a:p>
      </dgm:t>
    </dgm:pt>
    <dgm:pt modelId="{C4917CF5-2826-438A-8E9C-10567D3BBE21}">
      <dgm:prSet/>
      <dgm:spPr/>
      <dgm:t>
        <a:bodyPr/>
        <a:lstStyle/>
        <a:p>
          <a:r>
            <a:rPr lang="en-US" dirty="0"/>
            <a:t>Adult Health Services Team</a:t>
          </a:r>
        </a:p>
      </dgm:t>
    </dgm:pt>
    <dgm:pt modelId="{351F52FE-C27D-4A13-AD9C-D84B55181138}" type="parTrans" cxnId="{3A267ACB-4EEF-479C-B061-055513BCA1E2}">
      <dgm:prSet/>
      <dgm:spPr/>
      <dgm:t>
        <a:bodyPr/>
        <a:lstStyle/>
        <a:p>
          <a:endParaRPr lang="en-US"/>
        </a:p>
      </dgm:t>
    </dgm:pt>
    <dgm:pt modelId="{10808C99-0D1B-4A98-A2D0-C8FB8485CF4D}" type="sibTrans" cxnId="{3A267ACB-4EEF-479C-B061-055513BCA1E2}">
      <dgm:prSet/>
      <dgm:spPr/>
      <dgm:t>
        <a:bodyPr/>
        <a:lstStyle/>
        <a:p>
          <a:endParaRPr lang="en-US"/>
        </a:p>
      </dgm:t>
    </dgm:pt>
    <dgm:pt modelId="{FE11EDDF-E878-40B1-B6EB-B15A36EF7132}">
      <dgm:prSet/>
      <dgm:spPr/>
      <dgm:t>
        <a:bodyPr/>
        <a:lstStyle/>
        <a:p>
          <a:r>
            <a:rPr lang="en-US" dirty="0"/>
            <a:t>Youth Health Services Team</a:t>
          </a:r>
        </a:p>
      </dgm:t>
    </dgm:pt>
    <dgm:pt modelId="{566308EE-5399-4C69-A6F6-A94A75829D5E}" type="parTrans" cxnId="{75C70D59-91F0-422D-A1FF-620345706375}">
      <dgm:prSet/>
      <dgm:spPr/>
      <dgm:t>
        <a:bodyPr/>
        <a:lstStyle/>
        <a:p>
          <a:endParaRPr lang="en-US"/>
        </a:p>
      </dgm:t>
    </dgm:pt>
    <dgm:pt modelId="{0520D849-F223-46E2-AC1C-55FE49018B0C}" type="sibTrans" cxnId="{75C70D59-91F0-422D-A1FF-620345706375}">
      <dgm:prSet/>
      <dgm:spPr/>
      <dgm:t>
        <a:bodyPr/>
        <a:lstStyle/>
        <a:p>
          <a:endParaRPr lang="en-US"/>
        </a:p>
      </dgm:t>
    </dgm:pt>
    <dgm:pt modelId="{5FC5B87E-A165-4BF0-9133-360F91BCFA52}">
      <dgm:prSet/>
      <dgm:spPr/>
      <dgm:t>
        <a:bodyPr/>
        <a:lstStyle/>
        <a:p>
          <a:r>
            <a:rPr lang="en-US" dirty="0"/>
            <a:t>Consulting MD’s</a:t>
          </a:r>
        </a:p>
      </dgm:t>
    </dgm:pt>
    <dgm:pt modelId="{4B790DB4-8250-4149-AAB8-B470360A2000}" type="parTrans" cxnId="{A1425F6F-540D-4A1A-87C9-9CD3D50A7AB9}">
      <dgm:prSet/>
      <dgm:spPr/>
      <dgm:t>
        <a:bodyPr/>
        <a:lstStyle/>
        <a:p>
          <a:endParaRPr lang="en-US"/>
        </a:p>
      </dgm:t>
    </dgm:pt>
    <dgm:pt modelId="{B6C22051-921B-4398-8E8F-242647A9A219}" type="sibTrans" cxnId="{A1425F6F-540D-4A1A-87C9-9CD3D50A7AB9}">
      <dgm:prSet/>
      <dgm:spPr/>
      <dgm:t>
        <a:bodyPr/>
        <a:lstStyle/>
        <a:p>
          <a:endParaRPr lang="en-US"/>
        </a:p>
      </dgm:t>
    </dgm:pt>
    <dgm:pt modelId="{9BCCF028-F28A-4EA2-AF03-A4ACF9D9B3A0}">
      <dgm:prSet/>
      <dgm:spPr/>
      <dgm:t>
        <a:bodyPr/>
        <a:lstStyle/>
        <a:p>
          <a:r>
            <a:rPr lang="en-US" dirty="0"/>
            <a:t>Associate Director of Residential Services (Cluster C)</a:t>
          </a:r>
        </a:p>
      </dgm:t>
    </dgm:pt>
    <dgm:pt modelId="{4445E061-1B09-4B21-9C1D-1DCA766F90EE}" type="parTrans" cxnId="{60196338-A2AE-473E-A954-62D5EFE7B9EC}">
      <dgm:prSet/>
      <dgm:spPr/>
      <dgm:t>
        <a:bodyPr/>
        <a:lstStyle/>
        <a:p>
          <a:endParaRPr lang="en-US"/>
        </a:p>
      </dgm:t>
    </dgm:pt>
    <dgm:pt modelId="{7C245639-3295-480C-A9D7-C9B1FCC3A44D}" type="sibTrans" cxnId="{60196338-A2AE-473E-A954-62D5EFE7B9EC}">
      <dgm:prSet/>
      <dgm:spPr/>
      <dgm:t>
        <a:bodyPr/>
        <a:lstStyle/>
        <a:p>
          <a:endParaRPr lang="en-US"/>
        </a:p>
      </dgm:t>
    </dgm:pt>
    <dgm:pt modelId="{21DFCF00-BA3A-442D-A302-E8B9B273D4D7}" type="pres">
      <dgm:prSet presAssocID="{0FE97F07-166E-4646-8F3F-713BE98FF8D3}" presName="hierChild1" presStyleCnt="0">
        <dgm:presLayoutVars>
          <dgm:orgChart val="1"/>
          <dgm:chPref val="1"/>
          <dgm:dir/>
          <dgm:animOne val="branch"/>
          <dgm:animLvl val="lvl"/>
          <dgm:resizeHandles/>
        </dgm:presLayoutVars>
      </dgm:prSet>
      <dgm:spPr/>
    </dgm:pt>
    <dgm:pt modelId="{B1A764D9-D96A-4B53-B856-AEF52D45A3BA}" type="pres">
      <dgm:prSet presAssocID="{06002B94-D09E-435C-A5F9-59D3BEF8FC71}" presName="hierRoot1" presStyleCnt="0">
        <dgm:presLayoutVars>
          <dgm:hierBranch val="init"/>
        </dgm:presLayoutVars>
      </dgm:prSet>
      <dgm:spPr/>
    </dgm:pt>
    <dgm:pt modelId="{B4B8F1AC-A107-4950-B735-168B3D8CC895}" type="pres">
      <dgm:prSet presAssocID="{06002B94-D09E-435C-A5F9-59D3BEF8FC71}" presName="rootComposite1" presStyleCnt="0"/>
      <dgm:spPr/>
    </dgm:pt>
    <dgm:pt modelId="{B38EFBAE-F24D-4607-8056-41FD753C7A0D}" type="pres">
      <dgm:prSet presAssocID="{06002B94-D09E-435C-A5F9-59D3BEF8FC71}" presName="rootText1" presStyleLbl="node0" presStyleIdx="0" presStyleCnt="1">
        <dgm:presLayoutVars>
          <dgm:chPref val="3"/>
        </dgm:presLayoutVars>
      </dgm:prSet>
      <dgm:spPr/>
    </dgm:pt>
    <dgm:pt modelId="{9F3F7C96-9EB6-4B0C-996D-E8AFB782C371}" type="pres">
      <dgm:prSet presAssocID="{06002B94-D09E-435C-A5F9-59D3BEF8FC71}" presName="rootConnector1" presStyleLbl="node1" presStyleIdx="0" presStyleCnt="0"/>
      <dgm:spPr/>
    </dgm:pt>
    <dgm:pt modelId="{739FC934-DA7E-4472-AEA5-FF44FCFB5313}" type="pres">
      <dgm:prSet presAssocID="{06002B94-D09E-435C-A5F9-59D3BEF8FC71}" presName="hierChild2" presStyleCnt="0"/>
      <dgm:spPr/>
    </dgm:pt>
    <dgm:pt modelId="{62745C3C-8409-4F96-ACA1-A05ED7E3E9BC}" type="pres">
      <dgm:prSet presAssocID="{BE5A2021-5D71-4F6D-9B0F-CEFD2D18CB1F}" presName="Name37" presStyleLbl="parChTrans1D2" presStyleIdx="0" presStyleCnt="3"/>
      <dgm:spPr/>
    </dgm:pt>
    <dgm:pt modelId="{70B04D6F-66A9-4FDE-AB32-DAD3550F22D3}" type="pres">
      <dgm:prSet presAssocID="{58135677-0A81-4361-B9C9-A005F11157E4}" presName="hierRoot2" presStyleCnt="0">
        <dgm:presLayoutVars>
          <dgm:hierBranch/>
        </dgm:presLayoutVars>
      </dgm:prSet>
      <dgm:spPr/>
    </dgm:pt>
    <dgm:pt modelId="{FE44CBEE-EA0D-4D1C-B742-153A38EF3A6D}" type="pres">
      <dgm:prSet presAssocID="{58135677-0A81-4361-B9C9-A005F11157E4}" presName="rootComposite" presStyleCnt="0"/>
      <dgm:spPr/>
    </dgm:pt>
    <dgm:pt modelId="{5C13A3CF-5101-4405-863A-A3E2CCBB22AB}" type="pres">
      <dgm:prSet presAssocID="{58135677-0A81-4361-B9C9-A005F11157E4}" presName="rootText" presStyleLbl="node2" presStyleIdx="0" presStyleCnt="3">
        <dgm:presLayoutVars>
          <dgm:chPref val="3"/>
        </dgm:presLayoutVars>
      </dgm:prSet>
      <dgm:spPr/>
    </dgm:pt>
    <dgm:pt modelId="{9A1EC101-B2CE-405F-9790-44F992781CFD}" type="pres">
      <dgm:prSet presAssocID="{58135677-0A81-4361-B9C9-A005F11157E4}" presName="rootConnector" presStyleLbl="node2" presStyleIdx="0" presStyleCnt="3"/>
      <dgm:spPr/>
    </dgm:pt>
    <dgm:pt modelId="{AD9984FC-7F99-4311-B933-77886C628D45}" type="pres">
      <dgm:prSet presAssocID="{58135677-0A81-4361-B9C9-A005F11157E4}" presName="hierChild4" presStyleCnt="0"/>
      <dgm:spPr/>
    </dgm:pt>
    <dgm:pt modelId="{CFEFE4C9-9AD6-40A4-B4C9-9196F79245BF}" type="pres">
      <dgm:prSet presAssocID="{2EF2E317-8BA1-4AD3-AA98-518B599CF03D}" presName="Name35" presStyleLbl="parChTrans1D3" presStyleIdx="0" presStyleCnt="7"/>
      <dgm:spPr/>
    </dgm:pt>
    <dgm:pt modelId="{7B171000-9C05-454A-9E99-3E9F25A33A0D}" type="pres">
      <dgm:prSet presAssocID="{CE256C0F-58C1-4F13-B7D0-03965FF247A5}" presName="hierRoot2" presStyleCnt="0">
        <dgm:presLayoutVars>
          <dgm:hierBranch val="init"/>
        </dgm:presLayoutVars>
      </dgm:prSet>
      <dgm:spPr/>
    </dgm:pt>
    <dgm:pt modelId="{DAAF4395-6436-4FC5-AB96-A7FE8201586E}" type="pres">
      <dgm:prSet presAssocID="{CE256C0F-58C1-4F13-B7D0-03965FF247A5}" presName="rootComposite" presStyleCnt="0"/>
      <dgm:spPr/>
    </dgm:pt>
    <dgm:pt modelId="{B13567D1-1A72-4635-9F50-D4D4D0A3C081}" type="pres">
      <dgm:prSet presAssocID="{CE256C0F-58C1-4F13-B7D0-03965FF247A5}" presName="rootText" presStyleLbl="node3" presStyleIdx="0" presStyleCnt="7">
        <dgm:presLayoutVars>
          <dgm:chPref val="3"/>
        </dgm:presLayoutVars>
      </dgm:prSet>
      <dgm:spPr/>
    </dgm:pt>
    <dgm:pt modelId="{FB69352A-56E9-48F5-80D0-CAA048F21A9F}" type="pres">
      <dgm:prSet presAssocID="{CE256C0F-58C1-4F13-B7D0-03965FF247A5}" presName="rootConnector" presStyleLbl="node3" presStyleIdx="0" presStyleCnt="7"/>
      <dgm:spPr/>
    </dgm:pt>
    <dgm:pt modelId="{2101108C-098B-4A0E-ACD5-694D78A2CFB0}" type="pres">
      <dgm:prSet presAssocID="{CE256C0F-58C1-4F13-B7D0-03965FF247A5}" presName="hierChild4" presStyleCnt="0"/>
      <dgm:spPr/>
    </dgm:pt>
    <dgm:pt modelId="{709E9664-3FD6-4DEF-B1AB-1C12332F590D}" type="pres">
      <dgm:prSet presAssocID="{CE256C0F-58C1-4F13-B7D0-03965FF247A5}" presName="hierChild5" presStyleCnt="0"/>
      <dgm:spPr/>
    </dgm:pt>
    <dgm:pt modelId="{1DA138FB-A875-48C8-ACB9-70F4BB275716}" type="pres">
      <dgm:prSet presAssocID="{58135677-0A81-4361-B9C9-A005F11157E4}" presName="hierChild5" presStyleCnt="0"/>
      <dgm:spPr/>
    </dgm:pt>
    <dgm:pt modelId="{48AA546D-5E0D-4A6F-8078-B97747F42D48}" type="pres">
      <dgm:prSet presAssocID="{6D4D83F9-ED5B-4EBD-8DC6-82761541B51C}" presName="Name37" presStyleLbl="parChTrans1D2" presStyleIdx="1" presStyleCnt="3"/>
      <dgm:spPr/>
    </dgm:pt>
    <dgm:pt modelId="{26E82F5B-FA68-4C59-9391-6BA7566A60BF}" type="pres">
      <dgm:prSet presAssocID="{1E660F4A-C21D-4666-B444-EA668148BEC9}" presName="hierRoot2" presStyleCnt="0">
        <dgm:presLayoutVars>
          <dgm:hierBranch val="r"/>
        </dgm:presLayoutVars>
      </dgm:prSet>
      <dgm:spPr/>
    </dgm:pt>
    <dgm:pt modelId="{13464DE4-67E3-4AD0-B2D8-F6D52BCDDC57}" type="pres">
      <dgm:prSet presAssocID="{1E660F4A-C21D-4666-B444-EA668148BEC9}" presName="rootComposite" presStyleCnt="0"/>
      <dgm:spPr/>
    </dgm:pt>
    <dgm:pt modelId="{744ADE6F-30F7-4C01-ABA9-AEFD53A123DC}" type="pres">
      <dgm:prSet presAssocID="{1E660F4A-C21D-4666-B444-EA668148BEC9}" presName="rootText" presStyleLbl="node2" presStyleIdx="1" presStyleCnt="3">
        <dgm:presLayoutVars>
          <dgm:chPref val="3"/>
        </dgm:presLayoutVars>
      </dgm:prSet>
      <dgm:spPr/>
    </dgm:pt>
    <dgm:pt modelId="{6FA382D5-4D04-4017-B112-6DF00AEBEE0F}" type="pres">
      <dgm:prSet presAssocID="{1E660F4A-C21D-4666-B444-EA668148BEC9}" presName="rootConnector" presStyleLbl="node2" presStyleIdx="1" presStyleCnt="3"/>
      <dgm:spPr/>
    </dgm:pt>
    <dgm:pt modelId="{E26DB9C1-D79C-41CA-810C-56B762EA5EBE}" type="pres">
      <dgm:prSet presAssocID="{1E660F4A-C21D-4666-B444-EA668148BEC9}" presName="hierChild4" presStyleCnt="0"/>
      <dgm:spPr/>
    </dgm:pt>
    <dgm:pt modelId="{D077A8F8-7579-48A3-A933-A51E9204BBBF}" type="pres">
      <dgm:prSet presAssocID="{CC8D337E-C20C-4BA9-86AC-BD788720C8DC}" presName="Name50" presStyleLbl="parChTrans1D3" presStyleIdx="1" presStyleCnt="7"/>
      <dgm:spPr/>
    </dgm:pt>
    <dgm:pt modelId="{CC0514DD-4114-4722-AD05-C826E66803F5}" type="pres">
      <dgm:prSet presAssocID="{A69CAC79-E727-46E5-8420-778C913809BD}" presName="hierRoot2" presStyleCnt="0">
        <dgm:presLayoutVars>
          <dgm:hierBranch val="init"/>
        </dgm:presLayoutVars>
      </dgm:prSet>
      <dgm:spPr/>
    </dgm:pt>
    <dgm:pt modelId="{D6DADFCA-82A1-4159-B10B-10CC85D27CF5}" type="pres">
      <dgm:prSet presAssocID="{A69CAC79-E727-46E5-8420-778C913809BD}" presName="rootComposite" presStyleCnt="0"/>
      <dgm:spPr/>
    </dgm:pt>
    <dgm:pt modelId="{68D90719-BFB4-4B52-B9BF-6E70BD813947}" type="pres">
      <dgm:prSet presAssocID="{A69CAC79-E727-46E5-8420-778C913809BD}" presName="rootText" presStyleLbl="node3" presStyleIdx="1" presStyleCnt="7">
        <dgm:presLayoutVars>
          <dgm:chPref val="3"/>
        </dgm:presLayoutVars>
      </dgm:prSet>
      <dgm:spPr/>
    </dgm:pt>
    <dgm:pt modelId="{8511346B-550A-4895-947C-50EC6A89301F}" type="pres">
      <dgm:prSet presAssocID="{A69CAC79-E727-46E5-8420-778C913809BD}" presName="rootConnector" presStyleLbl="node3" presStyleIdx="1" presStyleCnt="7"/>
      <dgm:spPr/>
    </dgm:pt>
    <dgm:pt modelId="{48BC9AD6-483F-4ADD-AB8D-F7A9328E25F6}" type="pres">
      <dgm:prSet presAssocID="{A69CAC79-E727-46E5-8420-778C913809BD}" presName="hierChild4" presStyleCnt="0"/>
      <dgm:spPr/>
    </dgm:pt>
    <dgm:pt modelId="{51D4FCF7-1ADE-4D31-9515-A3BECD261D3C}" type="pres">
      <dgm:prSet presAssocID="{A69CAC79-E727-46E5-8420-778C913809BD}" presName="hierChild5" presStyleCnt="0"/>
      <dgm:spPr/>
    </dgm:pt>
    <dgm:pt modelId="{82ED1B24-F915-4606-B262-59B0B2939BFA}" type="pres">
      <dgm:prSet presAssocID="{0FC88059-F50A-4CF7-99BB-565D150577DB}" presName="Name50" presStyleLbl="parChTrans1D3" presStyleIdx="2" presStyleCnt="7"/>
      <dgm:spPr/>
    </dgm:pt>
    <dgm:pt modelId="{36E905AF-F96E-4CFD-A978-C5EBB242FE5F}" type="pres">
      <dgm:prSet presAssocID="{5C984B20-376D-48F2-88F2-683F4B072164}" presName="hierRoot2" presStyleCnt="0">
        <dgm:presLayoutVars>
          <dgm:hierBranch val="init"/>
        </dgm:presLayoutVars>
      </dgm:prSet>
      <dgm:spPr/>
    </dgm:pt>
    <dgm:pt modelId="{9D3765C4-1D68-480B-B9C9-112AD540BA6D}" type="pres">
      <dgm:prSet presAssocID="{5C984B20-376D-48F2-88F2-683F4B072164}" presName="rootComposite" presStyleCnt="0"/>
      <dgm:spPr/>
    </dgm:pt>
    <dgm:pt modelId="{FB08DEE4-C7C4-44A5-9227-F47BDB64A25A}" type="pres">
      <dgm:prSet presAssocID="{5C984B20-376D-48F2-88F2-683F4B072164}" presName="rootText" presStyleLbl="node3" presStyleIdx="2" presStyleCnt="7">
        <dgm:presLayoutVars>
          <dgm:chPref val="3"/>
        </dgm:presLayoutVars>
      </dgm:prSet>
      <dgm:spPr/>
    </dgm:pt>
    <dgm:pt modelId="{A32D3AE3-E47A-4FF4-A611-237B50E330EA}" type="pres">
      <dgm:prSet presAssocID="{5C984B20-376D-48F2-88F2-683F4B072164}" presName="rootConnector" presStyleLbl="node3" presStyleIdx="2" presStyleCnt="7"/>
      <dgm:spPr/>
    </dgm:pt>
    <dgm:pt modelId="{296F59F1-7762-436C-BC98-31C77D12DB25}" type="pres">
      <dgm:prSet presAssocID="{5C984B20-376D-48F2-88F2-683F4B072164}" presName="hierChild4" presStyleCnt="0"/>
      <dgm:spPr/>
    </dgm:pt>
    <dgm:pt modelId="{507CC503-EC98-455D-8B3C-B39013A4079B}" type="pres">
      <dgm:prSet presAssocID="{5C984B20-376D-48F2-88F2-683F4B072164}" presName="hierChild5" presStyleCnt="0"/>
      <dgm:spPr/>
    </dgm:pt>
    <dgm:pt modelId="{50D8D8AB-B9F1-4062-92FE-A97D77C80A18}" type="pres">
      <dgm:prSet presAssocID="{4445E061-1B09-4B21-9C1D-1DCA766F90EE}" presName="Name50" presStyleLbl="parChTrans1D3" presStyleIdx="3" presStyleCnt="7"/>
      <dgm:spPr/>
    </dgm:pt>
    <dgm:pt modelId="{A9039AD9-BA04-442E-9F8C-1DE203635BD2}" type="pres">
      <dgm:prSet presAssocID="{9BCCF028-F28A-4EA2-AF03-A4ACF9D9B3A0}" presName="hierRoot2" presStyleCnt="0">
        <dgm:presLayoutVars>
          <dgm:hierBranch val="init"/>
        </dgm:presLayoutVars>
      </dgm:prSet>
      <dgm:spPr/>
    </dgm:pt>
    <dgm:pt modelId="{A6FF2735-7645-410E-8171-1829229E6E19}" type="pres">
      <dgm:prSet presAssocID="{9BCCF028-F28A-4EA2-AF03-A4ACF9D9B3A0}" presName="rootComposite" presStyleCnt="0"/>
      <dgm:spPr/>
    </dgm:pt>
    <dgm:pt modelId="{2FCECD56-4BDB-4128-95F0-332A725B829E}" type="pres">
      <dgm:prSet presAssocID="{9BCCF028-F28A-4EA2-AF03-A4ACF9D9B3A0}" presName="rootText" presStyleLbl="node3" presStyleIdx="3" presStyleCnt="7">
        <dgm:presLayoutVars>
          <dgm:chPref val="3"/>
        </dgm:presLayoutVars>
      </dgm:prSet>
      <dgm:spPr/>
    </dgm:pt>
    <dgm:pt modelId="{51360498-5A82-4CC2-8C92-20C42DF198B0}" type="pres">
      <dgm:prSet presAssocID="{9BCCF028-F28A-4EA2-AF03-A4ACF9D9B3A0}" presName="rootConnector" presStyleLbl="node3" presStyleIdx="3" presStyleCnt="7"/>
      <dgm:spPr/>
    </dgm:pt>
    <dgm:pt modelId="{305A3ABD-1326-4996-8749-E29B04949634}" type="pres">
      <dgm:prSet presAssocID="{9BCCF028-F28A-4EA2-AF03-A4ACF9D9B3A0}" presName="hierChild4" presStyleCnt="0"/>
      <dgm:spPr/>
    </dgm:pt>
    <dgm:pt modelId="{C831AEA5-845D-43A0-B955-C4BBB055404D}" type="pres">
      <dgm:prSet presAssocID="{9BCCF028-F28A-4EA2-AF03-A4ACF9D9B3A0}" presName="hierChild5" presStyleCnt="0"/>
      <dgm:spPr/>
    </dgm:pt>
    <dgm:pt modelId="{10273E56-A8B3-4252-8CAC-6CBE415B5660}" type="pres">
      <dgm:prSet presAssocID="{1E660F4A-C21D-4666-B444-EA668148BEC9}" presName="hierChild5" presStyleCnt="0"/>
      <dgm:spPr/>
    </dgm:pt>
    <dgm:pt modelId="{87E8DC7C-1F0E-4980-B3C6-D52E49DA0800}" type="pres">
      <dgm:prSet presAssocID="{DF4A5801-5341-4F16-B8C8-D1B44E2DF77A}" presName="Name37" presStyleLbl="parChTrans1D2" presStyleIdx="2" presStyleCnt="3"/>
      <dgm:spPr/>
    </dgm:pt>
    <dgm:pt modelId="{6B1181E5-6C00-4DDE-A659-B7A8DF60DB3C}" type="pres">
      <dgm:prSet presAssocID="{5EFD92EA-ED8B-4823-96BC-CC6C25A58373}" presName="hierRoot2" presStyleCnt="0">
        <dgm:presLayoutVars>
          <dgm:hierBranch val="init"/>
        </dgm:presLayoutVars>
      </dgm:prSet>
      <dgm:spPr/>
    </dgm:pt>
    <dgm:pt modelId="{EE250354-21E4-4990-B0B3-8EDA9D56CFDF}" type="pres">
      <dgm:prSet presAssocID="{5EFD92EA-ED8B-4823-96BC-CC6C25A58373}" presName="rootComposite" presStyleCnt="0"/>
      <dgm:spPr/>
    </dgm:pt>
    <dgm:pt modelId="{D61A2675-20E6-40D3-A112-258999E88E2F}" type="pres">
      <dgm:prSet presAssocID="{5EFD92EA-ED8B-4823-96BC-CC6C25A58373}" presName="rootText" presStyleLbl="node2" presStyleIdx="2" presStyleCnt="3">
        <dgm:presLayoutVars>
          <dgm:chPref val="3"/>
        </dgm:presLayoutVars>
      </dgm:prSet>
      <dgm:spPr/>
    </dgm:pt>
    <dgm:pt modelId="{77B48F07-5B6A-4866-82DF-6FF3295F26E6}" type="pres">
      <dgm:prSet presAssocID="{5EFD92EA-ED8B-4823-96BC-CC6C25A58373}" presName="rootConnector" presStyleLbl="node2" presStyleIdx="2" presStyleCnt="3"/>
      <dgm:spPr/>
    </dgm:pt>
    <dgm:pt modelId="{1D7CB0D2-B38C-4AF4-B190-E21B4A708355}" type="pres">
      <dgm:prSet presAssocID="{5EFD92EA-ED8B-4823-96BC-CC6C25A58373}" presName="hierChild4" presStyleCnt="0"/>
      <dgm:spPr/>
    </dgm:pt>
    <dgm:pt modelId="{615A7B43-A318-496C-8475-CFF3EADB6F05}" type="pres">
      <dgm:prSet presAssocID="{351F52FE-C27D-4A13-AD9C-D84B55181138}" presName="Name37" presStyleLbl="parChTrans1D3" presStyleIdx="4" presStyleCnt="7"/>
      <dgm:spPr/>
    </dgm:pt>
    <dgm:pt modelId="{D7E48855-C2C0-4705-8309-C0F6E9503D48}" type="pres">
      <dgm:prSet presAssocID="{C4917CF5-2826-438A-8E9C-10567D3BBE21}" presName="hierRoot2" presStyleCnt="0">
        <dgm:presLayoutVars>
          <dgm:hierBranch val="init"/>
        </dgm:presLayoutVars>
      </dgm:prSet>
      <dgm:spPr/>
    </dgm:pt>
    <dgm:pt modelId="{F5A9A374-ED52-44CE-A26C-A64D33143DCF}" type="pres">
      <dgm:prSet presAssocID="{C4917CF5-2826-438A-8E9C-10567D3BBE21}" presName="rootComposite" presStyleCnt="0"/>
      <dgm:spPr/>
    </dgm:pt>
    <dgm:pt modelId="{7127DCFB-7662-40AF-9B14-B719B94AB4CA}" type="pres">
      <dgm:prSet presAssocID="{C4917CF5-2826-438A-8E9C-10567D3BBE21}" presName="rootText" presStyleLbl="node3" presStyleIdx="4" presStyleCnt="7">
        <dgm:presLayoutVars>
          <dgm:chPref val="3"/>
        </dgm:presLayoutVars>
      </dgm:prSet>
      <dgm:spPr/>
    </dgm:pt>
    <dgm:pt modelId="{8E1ACC98-5632-43B4-A93F-92563AB20DD8}" type="pres">
      <dgm:prSet presAssocID="{C4917CF5-2826-438A-8E9C-10567D3BBE21}" presName="rootConnector" presStyleLbl="node3" presStyleIdx="4" presStyleCnt="7"/>
      <dgm:spPr/>
    </dgm:pt>
    <dgm:pt modelId="{D2CF03BC-F7BF-4E23-A371-0150D311F5FC}" type="pres">
      <dgm:prSet presAssocID="{C4917CF5-2826-438A-8E9C-10567D3BBE21}" presName="hierChild4" presStyleCnt="0"/>
      <dgm:spPr/>
    </dgm:pt>
    <dgm:pt modelId="{798BE0B1-1331-4B63-B960-E1F5DA4454FD}" type="pres">
      <dgm:prSet presAssocID="{C4917CF5-2826-438A-8E9C-10567D3BBE21}" presName="hierChild5" presStyleCnt="0"/>
      <dgm:spPr/>
    </dgm:pt>
    <dgm:pt modelId="{E8299CFC-01ED-4178-8D3D-BE883B5D81B8}" type="pres">
      <dgm:prSet presAssocID="{566308EE-5399-4C69-A6F6-A94A75829D5E}" presName="Name37" presStyleLbl="parChTrans1D3" presStyleIdx="5" presStyleCnt="7"/>
      <dgm:spPr/>
    </dgm:pt>
    <dgm:pt modelId="{9C2DCFEC-F2E3-4583-BE24-0777D447A1F1}" type="pres">
      <dgm:prSet presAssocID="{FE11EDDF-E878-40B1-B6EB-B15A36EF7132}" presName="hierRoot2" presStyleCnt="0">
        <dgm:presLayoutVars>
          <dgm:hierBranch val="init"/>
        </dgm:presLayoutVars>
      </dgm:prSet>
      <dgm:spPr/>
    </dgm:pt>
    <dgm:pt modelId="{A6981121-AC73-4EAD-B089-45828D9FC545}" type="pres">
      <dgm:prSet presAssocID="{FE11EDDF-E878-40B1-B6EB-B15A36EF7132}" presName="rootComposite" presStyleCnt="0"/>
      <dgm:spPr/>
    </dgm:pt>
    <dgm:pt modelId="{258E4475-E56F-42F4-B862-376E4CA687E4}" type="pres">
      <dgm:prSet presAssocID="{FE11EDDF-E878-40B1-B6EB-B15A36EF7132}" presName="rootText" presStyleLbl="node3" presStyleIdx="5" presStyleCnt="7">
        <dgm:presLayoutVars>
          <dgm:chPref val="3"/>
        </dgm:presLayoutVars>
      </dgm:prSet>
      <dgm:spPr/>
    </dgm:pt>
    <dgm:pt modelId="{8EAB1897-81F0-4830-A4B5-0EA0677D741A}" type="pres">
      <dgm:prSet presAssocID="{FE11EDDF-E878-40B1-B6EB-B15A36EF7132}" presName="rootConnector" presStyleLbl="node3" presStyleIdx="5" presStyleCnt="7"/>
      <dgm:spPr/>
    </dgm:pt>
    <dgm:pt modelId="{2A00E1A3-0554-4BAF-B4ED-62678F5FA3C2}" type="pres">
      <dgm:prSet presAssocID="{FE11EDDF-E878-40B1-B6EB-B15A36EF7132}" presName="hierChild4" presStyleCnt="0"/>
      <dgm:spPr/>
    </dgm:pt>
    <dgm:pt modelId="{18083A02-A940-43DC-9682-172B39DAC61C}" type="pres">
      <dgm:prSet presAssocID="{FE11EDDF-E878-40B1-B6EB-B15A36EF7132}" presName="hierChild5" presStyleCnt="0"/>
      <dgm:spPr/>
    </dgm:pt>
    <dgm:pt modelId="{270C5CC7-6D94-4E15-BE87-543DF72E962E}" type="pres">
      <dgm:prSet presAssocID="{4B790DB4-8250-4149-AAB8-B470360A2000}" presName="Name37" presStyleLbl="parChTrans1D3" presStyleIdx="6" presStyleCnt="7"/>
      <dgm:spPr/>
    </dgm:pt>
    <dgm:pt modelId="{09720EF7-BE3C-4D62-AA42-EEF17D29B666}" type="pres">
      <dgm:prSet presAssocID="{5FC5B87E-A165-4BF0-9133-360F91BCFA52}" presName="hierRoot2" presStyleCnt="0">
        <dgm:presLayoutVars>
          <dgm:hierBranch val="init"/>
        </dgm:presLayoutVars>
      </dgm:prSet>
      <dgm:spPr/>
    </dgm:pt>
    <dgm:pt modelId="{320FF2FF-6E31-4D20-B797-338D0673999E}" type="pres">
      <dgm:prSet presAssocID="{5FC5B87E-A165-4BF0-9133-360F91BCFA52}" presName="rootComposite" presStyleCnt="0"/>
      <dgm:spPr/>
    </dgm:pt>
    <dgm:pt modelId="{15F71370-6CCE-4D9A-BE5F-3225FEF90FC6}" type="pres">
      <dgm:prSet presAssocID="{5FC5B87E-A165-4BF0-9133-360F91BCFA52}" presName="rootText" presStyleLbl="node3" presStyleIdx="6" presStyleCnt="7">
        <dgm:presLayoutVars>
          <dgm:chPref val="3"/>
        </dgm:presLayoutVars>
      </dgm:prSet>
      <dgm:spPr/>
    </dgm:pt>
    <dgm:pt modelId="{EAF820E4-E304-4FE5-A4F1-AC0681E936CF}" type="pres">
      <dgm:prSet presAssocID="{5FC5B87E-A165-4BF0-9133-360F91BCFA52}" presName="rootConnector" presStyleLbl="node3" presStyleIdx="6" presStyleCnt="7"/>
      <dgm:spPr/>
    </dgm:pt>
    <dgm:pt modelId="{C67AB2E0-954B-4EE7-A030-E8533501BC50}" type="pres">
      <dgm:prSet presAssocID="{5FC5B87E-A165-4BF0-9133-360F91BCFA52}" presName="hierChild4" presStyleCnt="0"/>
      <dgm:spPr/>
    </dgm:pt>
    <dgm:pt modelId="{6ECAA431-0A57-41CD-9BD1-1A793143A646}" type="pres">
      <dgm:prSet presAssocID="{5FC5B87E-A165-4BF0-9133-360F91BCFA52}" presName="hierChild5" presStyleCnt="0"/>
      <dgm:spPr/>
    </dgm:pt>
    <dgm:pt modelId="{31639DC2-5D33-4E11-AA3D-90883AAF15B3}" type="pres">
      <dgm:prSet presAssocID="{5EFD92EA-ED8B-4823-96BC-CC6C25A58373}" presName="hierChild5" presStyleCnt="0"/>
      <dgm:spPr/>
    </dgm:pt>
    <dgm:pt modelId="{A5DB6C09-2874-4A40-B4CB-F0AD3E4490FB}" type="pres">
      <dgm:prSet presAssocID="{06002B94-D09E-435C-A5F9-59D3BEF8FC71}" presName="hierChild3" presStyleCnt="0"/>
      <dgm:spPr/>
    </dgm:pt>
  </dgm:ptLst>
  <dgm:cxnLst>
    <dgm:cxn modelId="{3F4CC302-8AED-4A5E-9C1D-20003E26D7C6}" type="presOf" srcId="{CC8D337E-C20C-4BA9-86AC-BD788720C8DC}" destId="{D077A8F8-7579-48A3-A933-A51E9204BBBF}" srcOrd="0" destOrd="0" presId="urn:microsoft.com/office/officeart/2005/8/layout/orgChart1"/>
    <dgm:cxn modelId="{AAEEE20A-5A8E-4BCA-8BE4-B9A224504A41}" type="presOf" srcId="{1E660F4A-C21D-4666-B444-EA668148BEC9}" destId="{6FA382D5-4D04-4017-B112-6DF00AEBEE0F}" srcOrd="1" destOrd="0" presId="urn:microsoft.com/office/officeart/2005/8/layout/orgChart1"/>
    <dgm:cxn modelId="{FFA03415-A73C-47C2-A60B-66A3C42BD8A1}" type="presOf" srcId="{A69CAC79-E727-46E5-8420-778C913809BD}" destId="{8511346B-550A-4895-947C-50EC6A89301F}" srcOrd="1" destOrd="0" presId="urn:microsoft.com/office/officeart/2005/8/layout/orgChart1"/>
    <dgm:cxn modelId="{EE376721-9823-46A6-90EA-0A4567BC91A0}" type="presOf" srcId="{C4917CF5-2826-438A-8E9C-10567D3BBE21}" destId="{7127DCFB-7662-40AF-9B14-B719B94AB4CA}" srcOrd="0" destOrd="0" presId="urn:microsoft.com/office/officeart/2005/8/layout/orgChart1"/>
    <dgm:cxn modelId="{60196338-A2AE-473E-A954-62D5EFE7B9EC}" srcId="{1E660F4A-C21D-4666-B444-EA668148BEC9}" destId="{9BCCF028-F28A-4EA2-AF03-A4ACF9D9B3A0}" srcOrd="2" destOrd="0" parTransId="{4445E061-1B09-4B21-9C1D-1DCA766F90EE}" sibTransId="{7C245639-3295-480C-A9D7-C9B1FCC3A44D}"/>
    <dgm:cxn modelId="{4625B13D-F060-4464-8DBA-4EC7833843C1}" type="presOf" srcId="{5C984B20-376D-48F2-88F2-683F4B072164}" destId="{A32D3AE3-E47A-4FF4-A611-237B50E330EA}" srcOrd="1" destOrd="0" presId="urn:microsoft.com/office/officeart/2005/8/layout/orgChart1"/>
    <dgm:cxn modelId="{AF90233E-AA62-4149-A330-C6430A276293}" type="presOf" srcId="{2EF2E317-8BA1-4AD3-AA98-518B599CF03D}" destId="{CFEFE4C9-9AD6-40A4-B4C9-9196F79245BF}" srcOrd="0" destOrd="0" presId="urn:microsoft.com/office/officeart/2005/8/layout/orgChart1"/>
    <dgm:cxn modelId="{C271BC3E-ECDA-412E-9263-C7B36F5C69F3}" type="presOf" srcId="{4B790DB4-8250-4149-AAB8-B470360A2000}" destId="{270C5CC7-6D94-4E15-BE87-543DF72E962E}" srcOrd="0" destOrd="0" presId="urn:microsoft.com/office/officeart/2005/8/layout/orgChart1"/>
    <dgm:cxn modelId="{38AF8840-7DF1-4B8B-A7BE-55C233F28BC7}" type="presOf" srcId="{5EFD92EA-ED8B-4823-96BC-CC6C25A58373}" destId="{D61A2675-20E6-40D3-A112-258999E88E2F}" srcOrd="0" destOrd="0" presId="urn:microsoft.com/office/officeart/2005/8/layout/orgChart1"/>
    <dgm:cxn modelId="{76055A41-E847-47DE-B0F0-DE93090430FA}" type="presOf" srcId="{0FC88059-F50A-4CF7-99BB-565D150577DB}" destId="{82ED1B24-F915-4606-B262-59B0B2939BFA}" srcOrd="0" destOrd="0" presId="urn:microsoft.com/office/officeart/2005/8/layout/orgChart1"/>
    <dgm:cxn modelId="{469FF849-2F3B-40E0-BA31-A643E2896528}" srcId="{06002B94-D09E-435C-A5F9-59D3BEF8FC71}" destId="{5EFD92EA-ED8B-4823-96BC-CC6C25A58373}" srcOrd="2" destOrd="0" parTransId="{DF4A5801-5341-4F16-B8C8-D1B44E2DF77A}" sibTransId="{F34E0EEA-1636-42A1-8BC3-B76A48C7E346}"/>
    <dgm:cxn modelId="{8436F76D-3B23-42B5-90A6-E4373A2F71FC}" type="presOf" srcId="{CE256C0F-58C1-4F13-B7D0-03965FF247A5}" destId="{B13567D1-1A72-4635-9F50-D4D4D0A3C081}" srcOrd="0" destOrd="0" presId="urn:microsoft.com/office/officeart/2005/8/layout/orgChart1"/>
    <dgm:cxn modelId="{03CA3B4E-B38E-4E35-86D7-375C388FEEC8}" type="presOf" srcId="{566308EE-5399-4C69-A6F6-A94A75829D5E}" destId="{E8299CFC-01ED-4178-8D3D-BE883B5D81B8}" srcOrd="0" destOrd="0" presId="urn:microsoft.com/office/officeart/2005/8/layout/orgChart1"/>
    <dgm:cxn modelId="{A1425F6F-540D-4A1A-87C9-9CD3D50A7AB9}" srcId="{5EFD92EA-ED8B-4823-96BC-CC6C25A58373}" destId="{5FC5B87E-A165-4BF0-9133-360F91BCFA52}" srcOrd="2" destOrd="0" parTransId="{4B790DB4-8250-4149-AAB8-B470360A2000}" sibTransId="{B6C22051-921B-4398-8E8F-242647A9A219}"/>
    <dgm:cxn modelId="{6D32B06F-F1AF-426A-B2FA-F91CA623B46A}" srcId="{06002B94-D09E-435C-A5F9-59D3BEF8FC71}" destId="{1E660F4A-C21D-4666-B444-EA668148BEC9}" srcOrd="1" destOrd="0" parTransId="{6D4D83F9-ED5B-4EBD-8DC6-82761541B51C}" sibTransId="{C2087265-D28F-4C72-A783-B2512599A560}"/>
    <dgm:cxn modelId="{78388250-53D9-4284-9305-869D61F0D0DD}" type="presOf" srcId="{58135677-0A81-4361-B9C9-A005F11157E4}" destId="{5C13A3CF-5101-4405-863A-A3E2CCBB22AB}" srcOrd="0" destOrd="0" presId="urn:microsoft.com/office/officeart/2005/8/layout/orgChart1"/>
    <dgm:cxn modelId="{148F7754-FD3C-4390-94E5-36DA33549B8E}" type="presOf" srcId="{1E660F4A-C21D-4666-B444-EA668148BEC9}" destId="{744ADE6F-30F7-4C01-ABA9-AEFD53A123DC}" srcOrd="0" destOrd="0" presId="urn:microsoft.com/office/officeart/2005/8/layout/orgChart1"/>
    <dgm:cxn modelId="{7080F656-BD51-4D2E-8C96-C22605004898}" type="presOf" srcId="{0FE97F07-166E-4646-8F3F-713BE98FF8D3}" destId="{21DFCF00-BA3A-442D-A302-E8B9B273D4D7}" srcOrd="0" destOrd="0" presId="urn:microsoft.com/office/officeart/2005/8/layout/orgChart1"/>
    <dgm:cxn modelId="{E1DCC278-0AB3-4F12-994A-2375AC60B906}" type="presOf" srcId="{FE11EDDF-E878-40B1-B6EB-B15A36EF7132}" destId="{8EAB1897-81F0-4830-A4B5-0EA0677D741A}" srcOrd="1" destOrd="0" presId="urn:microsoft.com/office/officeart/2005/8/layout/orgChart1"/>
    <dgm:cxn modelId="{7420D478-CE38-47AB-866C-0C62A25A09A0}" srcId="{1E660F4A-C21D-4666-B444-EA668148BEC9}" destId="{5C984B20-376D-48F2-88F2-683F4B072164}" srcOrd="1" destOrd="0" parTransId="{0FC88059-F50A-4CF7-99BB-565D150577DB}" sibTransId="{1E8EF744-C8D8-4EBD-B1BA-E5A9C41CD90B}"/>
    <dgm:cxn modelId="{75C70D59-91F0-422D-A1FF-620345706375}" srcId="{5EFD92EA-ED8B-4823-96BC-CC6C25A58373}" destId="{FE11EDDF-E878-40B1-B6EB-B15A36EF7132}" srcOrd="1" destOrd="0" parTransId="{566308EE-5399-4C69-A6F6-A94A75829D5E}" sibTransId="{0520D849-F223-46E2-AC1C-55FE49018B0C}"/>
    <dgm:cxn modelId="{C0C70E8D-9F04-472E-8162-02AD0AE082D1}" srcId="{0FE97F07-166E-4646-8F3F-713BE98FF8D3}" destId="{06002B94-D09E-435C-A5F9-59D3BEF8FC71}" srcOrd="0" destOrd="0" parTransId="{187FCC7C-B3F3-47E0-9469-7908E98C35FA}" sibTransId="{4E74CEF0-454A-4E7B-ADC8-EEA7E2B8954C}"/>
    <dgm:cxn modelId="{2C8D3090-AAD7-458A-A6E9-F0E52C54277E}" type="presOf" srcId="{06002B94-D09E-435C-A5F9-59D3BEF8FC71}" destId="{9F3F7C96-9EB6-4B0C-996D-E8AFB782C371}" srcOrd="1" destOrd="0" presId="urn:microsoft.com/office/officeart/2005/8/layout/orgChart1"/>
    <dgm:cxn modelId="{70304B93-D6D4-492C-9EFB-A500B2FE08CF}" type="presOf" srcId="{BE5A2021-5D71-4F6D-9B0F-CEFD2D18CB1F}" destId="{62745C3C-8409-4F96-ACA1-A05ED7E3E9BC}" srcOrd="0" destOrd="0" presId="urn:microsoft.com/office/officeart/2005/8/layout/orgChart1"/>
    <dgm:cxn modelId="{B4E68998-54C8-4F7E-9E1B-4D9AF03E61DE}" type="presOf" srcId="{DF4A5801-5341-4F16-B8C8-D1B44E2DF77A}" destId="{87E8DC7C-1F0E-4980-B3C6-D52E49DA0800}" srcOrd="0" destOrd="0" presId="urn:microsoft.com/office/officeart/2005/8/layout/orgChart1"/>
    <dgm:cxn modelId="{85FCD298-3A91-4485-8C49-CC1BDBA3679E}" type="presOf" srcId="{351F52FE-C27D-4A13-AD9C-D84B55181138}" destId="{615A7B43-A318-496C-8475-CFF3EADB6F05}" srcOrd="0" destOrd="0" presId="urn:microsoft.com/office/officeart/2005/8/layout/orgChart1"/>
    <dgm:cxn modelId="{0FCE829B-287C-47DA-8419-97AC9F473B50}" type="presOf" srcId="{58135677-0A81-4361-B9C9-A005F11157E4}" destId="{9A1EC101-B2CE-405F-9790-44F992781CFD}" srcOrd="1" destOrd="0" presId="urn:microsoft.com/office/officeart/2005/8/layout/orgChart1"/>
    <dgm:cxn modelId="{FD7233A1-EB46-4A14-BCBB-8637F3E95DA6}" type="presOf" srcId="{5C984B20-376D-48F2-88F2-683F4B072164}" destId="{FB08DEE4-C7C4-44A5-9227-F47BDB64A25A}" srcOrd="0" destOrd="0" presId="urn:microsoft.com/office/officeart/2005/8/layout/orgChart1"/>
    <dgm:cxn modelId="{F93262A1-768A-4C33-A70D-CDF6104A0925}" type="presOf" srcId="{06002B94-D09E-435C-A5F9-59D3BEF8FC71}" destId="{B38EFBAE-F24D-4607-8056-41FD753C7A0D}" srcOrd="0" destOrd="0" presId="urn:microsoft.com/office/officeart/2005/8/layout/orgChart1"/>
    <dgm:cxn modelId="{9C3FF7A2-C17A-4B26-B03D-79ADCDF62B6E}" srcId="{06002B94-D09E-435C-A5F9-59D3BEF8FC71}" destId="{58135677-0A81-4361-B9C9-A005F11157E4}" srcOrd="0" destOrd="0" parTransId="{BE5A2021-5D71-4F6D-9B0F-CEFD2D18CB1F}" sibTransId="{F9112C6D-31DC-40AE-B9B0-55E3CD1C3285}"/>
    <dgm:cxn modelId="{41F712C4-B530-42FB-AA46-96BE99E8442E}" type="presOf" srcId="{9BCCF028-F28A-4EA2-AF03-A4ACF9D9B3A0}" destId="{51360498-5A82-4CC2-8C92-20C42DF198B0}" srcOrd="1" destOrd="0" presId="urn:microsoft.com/office/officeart/2005/8/layout/orgChart1"/>
    <dgm:cxn modelId="{477E64C6-CF1B-4BAF-93B5-6A006CADDC93}" type="presOf" srcId="{CE256C0F-58C1-4F13-B7D0-03965FF247A5}" destId="{FB69352A-56E9-48F5-80D0-CAA048F21A9F}" srcOrd="1" destOrd="0" presId="urn:microsoft.com/office/officeart/2005/8/layout/orgChart1"/>
    <dgm:cxn modelId="{011D3AC9-253F-486C-9950-1A68973BF369}" type="presOf" srcId="{FE11EDDF-E878-40B1-B6EB-B15A36EF7132}" destId="{258E4475-E56F-42F4-B862-376E4CA687E4}" srcOrd="0" destOrd="0" presId="urn:microsoft.com/office/officeart/2005/8/layout/orgChart1"/>
    <dgm:cxn modelId="{3A267ACB-4EEF-479C-B061-055513BCA1E2}" srcId="{5EFD92EA-ED8B-4823-96BC-CC6C25A58373}" destId="{C4917CF5-2826-438A-8E9C-10567D3BBE21}" srcOrd="0" destOrd="0" parTransId="{351F52FE-C27D-4A13-AD9C-D84B55181138}" sibTransId="{10808C99-0D1B-4A98-A2D0-C8FB8485CF4D}"/>
    <dgm:cxn modelId="{BD66E3D2-5D45-47DC-B4DA-FC31714C5602}" type="presOf" srcId="{6D4D83F9-ED5B-4EBD-8DC6-82761541B51C}" destId="{48AA546D-5E0D-4A6F-8078-B97747F42D48}" srcOrd="0" destOrd="0" presId="urn:microsoft.com/office/officeart/2005/8/layout/orgChart1"/>
    <dgm:cxn modelId="{209654D3-D55B-4997-8D75-C1AC5FF915EB}" type="presOf" srcId="{A69CAC79-E727-46E5-8420-778C913809BD}" destId="{68D90719-BFB4-4B52-B9BF-6E70BD813947}" srcOrd="0" destOrd="0" presId="urn:microsoft.com/office/officeart/2005/8/layout/orgChart1"/>
    <dgm:cxn modelId="{86EDC9D4-C00F-4A5A-9FD6-C05F4EAAC469}" srcId="{1E660F4A-C21D-4666-B444-EA668148BEC9}" destId="{A69CAC79-E727-46E5-8420-778C913809BD}" srcOrd="0" destOrd="0" parTransId="{CC8D337E-C20C-4BA9-86AC-BD788720C8DC}" sibTransId="{D2B92C39-D7D1-4853-8350-7608AB444A9F}"/>
    <dgm:cxn modelId="{1D488EDC-B5B5-4DCE-8D68-A0F766A172CA}" type="presOf" srcId="{5EFD92EA-ED8B-4823-96BC-CC6C25A58373}" destId="{77B48F07-5B6A-4866-82DF-6FF3295F26E6}" srcOrd="1" destOrd="0" presId="urn:microsoft.com/office/officeart/2005/8/layout/orgChart1"/>
    <dgm:cxn modelId="{1B8425E5-813E-4267-B6D7-0F5AB87DBD87}" type="presOf" srcId="{5FC5B87E-A165-4BF0-9133-360F91BCFA52}" destId="{15F71370-6CCE-4D9A-BE5F-3225FEF90FC6}" srcOrd="0" destOrd="0" presId="urn:microsoft.com/office/officeart/2005/8/layout/orgChart1"/>
    <dgm:cxn modelId="{EC8948E6-9D27-40ED-B44C-F775FBA319F5}" type="presOf" srcId="{5FC5B87E-A165-4BF0-9133-360F91BCFA52}" destId="{EAF820E4-E304-4FE5-A4F1-AC0681E936CF}" srcOrd="1" destOrd="0" presId="urn:microsoft.com/office/officeart/2005/8/layout/orgChart1"/>
    <dgm:cxn modelId="{2523CDFB-F73A-4268-8EC5-3D29D8A4DFDE}" srcId="{58135677-0A81-4361-B9C9-A005F11157E4}" destId="{CE256C0F-58C1-4F13-B7D0-03965FF247A5}" srcOrd="0" destOrd="0" parTransId="{2EF2E317-8BA1-4AD3-AA98-518B599CF03D}" sibTransId="{A8BF255E-71F0-4E9C-A30E-CA818FB313D2}"/>
    <dgm:cxn modelId="{CD7818FE-4873-4829-A1C0-EFD747D74707}" type="presOf" srcId="{C4917CF5-2826-438A-8E9C-10567D3BBE21}" destId="{8E1ACC98-5632-43B4-A93F-92563AB20DD8}" srcOrd="1" destOrd="0" presId="urn:microsoft.com/office/officeart/2005/8/layout/orgChart1"/>
    <dgm:cxn modelId="{406085FF-2CDA-4772-9C06-01CA368C6D26}" type="presOf" srcId="{9BCCF028-F28A-4EA2-AF03-A4ACF9D9B3A0}" destId="{2FCECD56-4BDB-4128-95F0-332A725B829E}" srcOrd="0" destOrd="0" presId="urn:microsoft.com/office/officeart/2005/8/layout/orgChart1"/>
    <dgm:cxn modelId="{B31CABFF-541D-4584-BE3A-0E439159F625}" type="presOf" srcId="{4445E061-1B09-4B21-9C1D-1DCA766F90EE}" destId="{50D8D8AB-B9F1-4062-92FE-A97D77C80A18}" srcOrd="0" destOrd="0" presId="urn:microsoft.com/office/officeart/2005/8/layout/orgChart1"/>
    <dgm:cxn modelId="{40B60A5D-AAF9-4D2E-ADF3-D0AAF42BB3E9}" type="presParOf" srcId="{21DFCF00-BA3A-442D-A302-E8B9B273D4D7}" destId="{B1A764D9-D96A-4B53-B856-AEF52D45A3BA}" srcOrd="0" destOrd="0" presId="urn:microsoft.com/office/officeart/2005/8/layout/orgChart1"/>
    <dgm:cxn modelId="{0D4B63F7-A387-4988-AB23-4133868C24C9}" type="presParOf" srcId="{B1A764D9-D96A-4B53-B856-AEF52D45A3BA}" destId="{B4B8F1AC-A107-4950-B735-168B3D8CC895}" srcOrd="0" destOrd="0" presId="urn:microsoft.com/office/officeart/2005/8/layout/orgChart1"/>
    <dgm:cxn modelId="{5240A2D4-80B9-4505-8F35-BC74350444C5}" type="presParOf" srcId="{B4B8F1AC-A107-4950-B735-168B3D8CC895}" destId="{B38EFBAE-F24D-4607-8056-41FD753C7A0D}" srcOrd="0" destOrd="0" presId="urn:microsoft.com/office/officeart/2005/8/layout/orgChart1"/>
    <dgm:cxn modelId="{58C471E4-3516-42F2-B612-BD1617223E02}" type="presParOf" srcId="{B4B8F1AC-A107-4950-B735-168B3D8CC895}" destId="{9F3F7C96-9EB6-4B0C-996D-E8AFB782C371}" srcOrd="1" destOrd="0" presId="urn:microsoft.com/office/officeart/2005/8/layout/orgChart1"/>
    <dgm:cxn modelId="{B1E93482-4F36-4F17-80C2-BC8B9F3F4F9B}" type="presParOf" srcId="{B1A764D9-D96A-4B53-B856-AEF52D45A3BA}" destId="{739FC934-DA7E-4472-AEA5-FF44FCFB5313}" srcOrd="1" destOrd="0" presId="urn:microsoft.com/office/officeart/2005/8/layout/orgChart1"/>
    <dgm:cxn modelId="{D723CE97-6EC1-4983-A3CE-ACDA4B9D2BC1}" type="presParOf" srcId="{739FC934-DA7E-4472-AEA5-FF44FCFB5313}" destId="{62745C3C-8409-4F96-ACA1-A05ED7E3E9BC}" srcOrd="0" destOrd="0" presId="urn:microsoft.com/office/officeart/2005/8/layout/orgChart1"/>
    <dgm:cxn modelId="{46EAEB9C-F522-4613-9347-019AC41893BD}" type="presParOf" srcId="{739FC934-DA7E-4472-AEA5-FF44FCFB5313}" destId="{70B04D6F-66A9-4FDE-AB32-DAD3550F22D3}" srcOrd="1" destOrd="0" presId="urn:microsoft.com/office/officeart/2005/8/layout/orgChart1"/>
    <dgm:cxn modelId="{82026287-D840-455A-9C53-EB5B9A4F699D}" type="presParOf" srcId="{70B04D6F-66A9-4FDE-AB32-DAD3550F22D3}" destId="{FE44CBEE-EA0D-4D1C-B742-153A38EF3A6D}" srcOrd="0" destOrd="0" presId="urn:microsoft.com/office/officeart/2005/8/layout/orgChart1"/>
    <dgm:cxn modelId="{7DAB3B6A-AD33-4D04-BAEF-B11278C12778}" type="presParOf" srcId="{FE44CBEE-EA0D-4D1C-B742-153A38EF3A6D}" destId="{5C13A3CF-5101-4405-863A-A3E2CCBB22AB}" srcOrd="0" destOrd="0" presId="urn:microsoft.com/office/officeart/2005/8/layout/orgChart1"/>
    <dgm:cxn modelId="{6E0C10FE-D96B-46E6-9BB2-7E320651F811}" type="presParOf" srcId="{FE44CBEE-EA0D-4D1C-B742-153A38EF3A6D}" destId="{9A1EC101-B2CE-405F-9790-44F992781CFD}" srcOrd="1" destOrd="0" presId="urn:microsoft.com/office/officeart/2005/8/layout/orgChart1"/>
    <dgm:cxn modelId="{F698B508-BC30-4D7E-9F81-F16AC8996EFB}" type="presParOf" srcId="{70B04D6F-66A9-4FDE-AB32-DAD3550F22D3}" destId="{AD9984FC-7F99-4311-B933-77886C628D45}" srcOrd="1" destOrd="0" presId="urn:microsoft.com/office/officeart/2005/8/layout/orgChart1"/>
    <dgm:cxn modelId="{289E4890-3BEE-49EE-8195-8BE931993069}" type="presParOf" srcId="{AD9984FC-7F99-4311-B933-77886C628D45}" destId="{CFEFE4C9-9AD6-40A4-B4C9-9196F79245BF}" srcOrd="0" destOrd="0" presId="urn:microsoft.com/office/officeart/2005/8/layout/orgChart1"/>
    <dgm:cxn modelId="{9D020407-5C9C-47A2-B278-F206B9922289}" type="presParOf" srcId="{AD9984FC-7F99-4311-B933-77886C628D45}" destId="{7B171000-9C05-454A-9E99-3E9F25A33A0D}" srcOrd="1" destOrd="0" presId="urn:microsoft.com/office/officeart/2005/8/layout/orgChart1"/>
    <dgm:cxn modelId="{F5753AF3-7CC3-4D5B-ABB8-21D51B963C67}" type="presParOf" srcId="{7B171000-9C05-454A-9E99-3E9F25A33A0D}" destId="{DAAF4395-6436-4FC5-AB96-A7FE8201586E}" srcOrd="0" destOrd="0" presId="urn:microsoft.com/office/officeart/2005/8/layout/orgChart1"/>
    <dgm:cxn modelId="{2C54EDCF-D587-4988-9CF3-5D842AE1876E}" type="presParOf" srcId="{DAAF4395-6436-4FC5-AB96-A7FE8201586E}" destId="{B13567D1-1A72-4635-9F50-D4D4D0A3C081}" srcOrd="0" destOrd="0" presId="urn:microsoft.com/office/officeart/2005/8/layout/orgChart1"/>
    <dgm:cxn modelId="{76B71A0B-61EA-4950-999D-72AE5BCDA79B}" type="presParOf" srcId="{DAAF4395-6436-4FC5-AB96-A7FE8201586E}" destId="{FB69352A-56E9-48F5-80D0-CAA048F21A9F}" srcOrd="1" destOrd="0" presId="urn:microsoft.com/office/officeart/2005/8/layout/orgChart1"/>
    <dgm:cxn modelId="{FF73BCB7-A685-4AC2-A731-760FFC6533A8}" type="presParOf" srcId="{7B171000-9C05-454A-9E99-3E9F25A33A0D}" destId="{2101108C-098B-4A0E-ACD5-694D78A2CFB0}" srcOrd="1" destOrd="0" presId="urn:microsoft.com/office/officeart/2005/8/layout/orgChart1"/>
    <dgm:cxn modelId="{D5A8CBF9-5FAF-4282-9183-EE47859F5FE3}" type="presParOf" srcId="{7B171000-9C05-454A-9E99-3E9F25A33A0D}" destId="{709E9664-3FD6-4DEF-B1AB-1C12332F590D}" srcOrd="2" destOrd="0" presId="urn:microsoft.com/office/officeart/2005/8/layout/orgChart1"/>
    <dgm:cxn modelId="{3B190847-1C3D-42C7-91D5-2878C9097DF0}" type="presParOf" srcId="{70B04D6F-66A9-4FDE-AB32-DAD3550F22D3}" destId="{1DA138FB-A875-48C8-ACB9-70F4BB275716}" srcOrd="2" destOrd="0" presId="urn:microsoft.com/office/officeart/2005/8/layout/orgChart1"/>
    <dgm:cxn modelId="{A120918C-22F0-4F15-BF4F-43F0F1391567}" type="presParOf" srcId="{739FC934-DA7E-4472-AEA5-FF44FCFB5313}" destId="{48AA546D-5E0D-4A6F-8078-B97747F42D48}" srcOrd="2" destOrd="0" presId="urn:microsoft.com/office/officeart/2005/8/layout/orgChart1"/>
    <dgm:cxn modelId="{B0F3EB58-79E2-4CF3-9201-F06A8B29F2A8}" type="presParOf" srcId="{739FC934-DA7E-4472-AEA5-FF44FCFB5313}" destId="{26E82F5B-FA68-4C59-9391-6BA7566A60BF}" srcOrd="3" destOrd="0" presId="urn:microsoft.com/office/officeart/2005/8/layout/orgChart1"/>
    <dgm:cxn modelId="{3DB279A1-4AB0-4B3B-A348-8B2D4C6889AB}" type="presParOf" srcId="{26E82F5B-FA68-4C59-9391-6BA7566A60BF}" destId="{13464DE4-67E3-4AD0-B2D8-F6D52BCDDC57}" srcOrd="0" destOrd="0" presId="urn:microsoft.com/office/officeart/2005/8/layout/orgChart1"/>
    <dgm:cxn modelId="{93C2C19C-6549-44B6-8B81-4066500243B3}" type="presParOf" srcId="{13464DE4-67E3-4AD0-B2D8-F6D52BCDDC57}" destId="{744ADE6F-30F7-4C01-ABA9-AEFD53A123DC}" srcOrd="0" destOrd="0" presId="urn:microsoft.com/office/officeart/2005/8/layout/orgChart1"/>
    <dgm:cxn modelId="{2F2FC989-D27B-4A2D-AE00-49BE2B519851}" type="presParOf" srcId="{13464DE4-67E3-4AD0-B2D8-F6D52BCDDC57}" destId="{6FA382D5-4D04-4017-B112-6DF00AEBEE0F}" srcOrd="1" destOrd="0" presId="urn:microsoft.com/office/officeart/2005/8/layout/orgChart1"/>
    <dgm:cxn modelId="{F80AE1F8-7529-439C-9836-B3718C78310A}" type="presParOf" srcId="{26E82F5B-FA68-4C59-9391-6BA7566A60BF}" destId="{E26DB9C1-D79C-41CA-810C-56B762EA5EBE}" srcOrd="1" destOrd="0" presId="urn:microsoft.com/office/officeart/2005/8/layout/orgChart1"/>
    <dgm:cxn modelId="{47B4786B-DCCF-4EA1-9455-3E75CE0672DD}" type="presParOf" srcId="{E26DB9C1-D79C-41CA-810C-56B762EA5EBE}" destId="{D077A8F8-7579-48A3-A933-A51E9204BBBF}" srcOrd="0" destOrd="0" presId="urn:microsoft.com/office/officeart/2005/8/layout/orgChart1"/>
    <dgm:cxn modelId="{458C22E8-98FB-4B51-AE6B-6DF8E47E9842}" type="presParOf" srcId="{E26DB9C1-D79C-41CA-810C-56B762EA5EBE}" destId="{CC0514DD-4114-4722-AD05-C826E66803F5}" srcOrd="1" destOrd="0" presId="urn:microsoft.com/office/officeart/2005/8/layout/orgChart1"/>
    <dgm:cxn modelId="{3C5795ED-2AA1-48B3-B9A4-F49F06C632C9}" type="presParOf" srcId="{CC0514DD-4114-4722-AD05-C826E66803F5}" destId="{D6DADFCA-82A1-4159-B10B-10CC85D27CF5}" srcOrd="0" destOrd="0" presId="urn:microsoft.com/office/officeart/2005/8/layout/orgChart1"/>
    <dgm:cxn modelId="{2A1C8453-8442-4FA7-976C-B6C15DA38D24}" type="presParOf" srcId="{D6DADFCA-82A1-4159-B10B-10CC85D27CF5}" destId="{68D90719-BFB4-4B52-B9BF-6E70BD813947}" srcOrd="0" destOrd="0" presId="urn:microsoft.com/office/officeart/2005/8/layout/orgChart1"/>
    <dgm:cxn modelId="{5550BEC4-2046-41AF-BE68-C292EEB2C666}" type="presParOf" srcId="{D6DADFCA-82A1-4159-B10B-10CC85D27CF5}" destId="{8511346B-550A-4895-947C-50EC6A89301F}" srcOrd="1" destOrd="0" presId="urn:microsoft.com/office/officeart/2005/8/layout/orgChart1"/>
    <dgm:cxn modelId="{719C6619-AD20-47A9-843E-2BBAE9BF7E0A}" type="presParOf" srcId="{CC0514DD-4114-4722-AD05-C826E66803F5}" destId="{48BC9AD6-483F-4ADD-AB8D-F7A9328E25F6}" srcOrd="1" destOrd="0" presId="urn:microsoft.com/office/officeart/2005/8/layout/orgChart1"/>
    <dgm:cxn modelId="{26A34EEA-5FBA-4931-B064-4A94351F7BC0}" type="presParOf" srcId="{CC0514DD-4114-4722-AD05-C826E66803F5}" destId="{51D4FCF7-1ADE-4D31-9515-A3BECD261D3C}" srcOrd="2" destOrd="0" presId="urn:microsoft.com/office/officeart/2005/8/layout/orgChart1"/>
    <dgm:cxn modelId="{1F86EC5C-3528-4CEE-BE63-7B44098C8426}" type="presParOf" srcId="{E26DB9C1-D79C-41CA-810C-56B762EA5EBE}" destId="{82ED1B24-F915-4606-B262-59B0B2939BFA}" srcOrd="2" destOrd="0" presId="urn:microsoft.com/office/officeart/2005/8/layout/orgChart1"/>
    <dgm:cxn modelId="{AB979370-0D19-4275-B21F-C338FE94CC87}" type="presParOf" srcId="{E26DB9C1-D79C-41CA-810C-56B762EA5EBE}" destId="{36E905AF-F96E-4CFD-A978-C5EBB242FE5F}" srcOrd="3" destOrd="0" presId="urn:microsoft.com/office/officeart/2005/8/layout/orgChart1"/>
    <dgm:cxn modelId="{903E4744-C6C2-407E-ADB4-8B38817C7F5D}" type="presParOf" srcId="{36E905AF-F96E-4CFD-A978-C5EBB242FE5F}" destId="{9D3765C4-1D68-480B-B9C9-112AD540BA6D}" srcOrd="0" destOrd="0" presId="urn:microsoft.com/office/officeart/2005/8/layout/orgChart1"/>
    <dgm:cxn modelId="{5B10E99A-A520-443B-A781-805C3BBE424F}" type="presParOf" srcId="{9D3765C4-1D68-480B-B9C9-112AD540BA6D}" destId="{FB08DEE4-C7C4-44A5-9227-F47BDB64A25A}" srcOrd="0" destOrd="0" presId="urn:microsoft.com/office/officeart/2005/8/layout/orgChart1"/>
    <dgm:cxn modelId="{F6E5892D-7EEA-4AA1-A702-6DC8F9A7299B}" type="presParOf" srcId="{9D3765C4-1D68-480B-B9C9-112AD540BA6D}" destId="{A32D3AE3-E47A-4FF4-A611-237B50E330EA}" srcOrd="1" destOrd="0" presId="urn:microsoft.com/office/officeart/2005/8/layout/orgChart1"/>
    <dgm:cxn modelId="{BD98DC99-F9E6-4F17-9215-754FF10CF0ED}" type="presParOf" srcId="{36E905AF-F96E-4CFD-A978-C5EBB242FE5F}" destId="{296F59F1-7762-436C-BC98-31C77D12DB25}" srcOrd="1" destOrd="0" presId="urn:microsoft.com/office/officeart/2005/8/layout/orgChart1"/>
    <dgm:cxn modelId="{87CB2F98-8275-4B22-9FA5-FB77AC44746F}" type="presParOf" srcId="{36E905AF-F96E-4CFD-A978-C5EBB242FE5F}" destId="{507CC503-EC98-455D-8B3C-B39013A4079B}" srcOrd="2" destOrd="0" presId="urn:microsoft.com/office/officeart/2005/8/layout/orgChart1"/>
    <dgm:cxn modelId="{4B1DDE63-12BF-4BDE-B9E5-0A32716E6C5A}" type="presParOf" srcId="{E26DB9C1-D79C-41CA-810C-56B762EA5EBE}" destId="{50D8D8AB-B9F1-4062-92FE-A97D77C80A18}" srcOrd="4" destOrd="0" presId="urn:microsoft.com/office/officeart/2005/8/layout/orgChart1"/>
    <dgm:cxn modelId="{58846BE1-B028-4DF7-9BF2-22CD6E4DCE4B}" type="presParOf" srcId="{E26DB9C1-D79C-41CA-810C-56B762EA5EBE}" destId="{A9039AD9-BA04-442E-9F8C-1DE203635BD2}" srcOrd="5" destOrd="0" presId="urn:microsoft.com/office/officeart/2005/8/layout/orgChart1"/>
    <dgm:cxn modelId="{500DA7CE-C49E-436C-A4CA-7E95D9429AC0}" type="presParOf" srcId="{A9039AD9-BA04-442E-9F8C-1DE203635BD2}" destId="{A6FF2735-7645-410E-8171-1829229E6E19}" srcOrd="0" destOrd="0" presId="urn:microsoft.com/office/officeart/2005/8/layout/orgChart1"/>
    <dgm:cxn modelId="{4941D087-650C-4BA4-9EA7-340F85F6FAA2}" type="presParOf" srcId="{A6FF2735-7645-410E-8171-1829229E6E19}" destId="{2FCECD56-4BDB-4128-95F0-332A725B829E}" srcOrd="0" destOrd="0" presId="urn:microsoft.com/office/officeart/2005/8/layout/orgChart1"/>
    <dgm:cxn modelId="{398BC279-127B-4C0A-9B0D-05E65F5D0490}" type="presParOf" srcId="{A6FF2735-7645-410E-8171-1829229E6E19}" destId="{51360498-5A82-4CC2-8C92-20C42DF198B0}" srcOrd="1" destOrd="0" presId="urn:microsoft.com/office/officeart/2005/8/layout/orgChart1"/>
    <dgm:cxn modelId="{9A7FE62A-F23A-43E1-8004-24068DDA2F60}" type="presParOf" srcId="{A9039AD9-BA04-442E-9F8C-1DE203635BD2}" destId="{305A3ABD-1326-4996-8749-E29B04949634}" srcOrd="1" destOrd="0" presId="urn:microsoft.com/office/officeart/2005/8/layout/orgChart1"/>
    <dgm:cxn modelId="{076C8545-B39E-4528-83E9-87353ED023E1}" type="presParOf" srcId="{A9039AD9-BA04-442E-9F8C-1DE203635BD2}" destId="{C831AEA5-845D-43A0-B955-C4BBB055404D}" srcOrd="2" destOrd="0" presId="urn:microsoft.com/office/officeart/2005/8/layout/orgChart1"/>
    <dgm:cxn modelId="{869B00DD-EE1B-4407-A1E3-BE823FDED5B1}" type="presParOf" srcId="{26E82F5B-FA68-4C59-9391-6BA7566A60BF}" destId="{10273E56-A8B3-4252-8CAC-6CBE415B5660}" srcOrd="2" destOrd="0" presId="urn:microsoft.com/office/officeart/2005/8/layout/orgChart1"/>
    <dgm:cxn modelId="{AD0D476F-722B-4414-BA66-16AEEC22D9DE}" type="presParOf" srcId="{739FC934-DA7E-4472-AEA5-FF44FCFB5313}" destId="{87E8DC7C-1F0E-4980-B3C6-D52E49DA0800}" srcOrd="4" destOrd="0" presId="urn:microsoft.com/office/officeart/2005/8/layout/orgChart1"/>
    <dgm:cxn modelId="{CAF8EABF-CA91-42AA-831E-1FC285C2B3D8}" type="presParOf" srcId="{739FC934-DA7E-4472-AEA5-FF44FCFB5313}" destId="{6B1181E5-6C00-4DDE-A659-B7A8DF60DB3C}" srcOrd="5" destOrd="0" presId="urn:microsoft.com/office/officeart/2005/8/layout/orgChart1"/>
    <dgm:cxn modelId="{815D2BF9-E60C-4058-AADC-E22E258C2B03}" type="presParOf" srcId="{6B1181E5-6C00-4DDE-A659-B7A8DF60DB3C}" destId="{EE250354-21E4-4990-B0B3-8EDA9D56CFDF}" srcOrd="0" destOrd="0" presId="urn:microsoft.com/office/officeart/2005/8/layout/orgChart1"/>
    <dgm:cxn modelId="{23C14B18-C7BB-467B-90F1-6F3EFCDF075A}" type="presParOf" srcId="{EE250354-21E4-4990-B0B3-8EDA9D56CFDF}" destId="{D61A2675-20E6-40D3-A112-258999E88E2F}" srcOrd="0" destOrd="0" presId="urn:microsoft.com/office/officeart/2005/8/layout/orgChart1"/>
    <dgm:cxn modelId="{57D22FC1-B119-4199-8614-28FEADE3248E}" type="presParOf" srcId="{EE250354-21E4-4990-B0B3-8EDA9D56CFDF}" destId="{77B48F07-5B6A-4866-82DF-6FF3295F26E6}" srcOrd="1" destOrd="0" presId="urn:microsoft.com/office/officeart/2005/8/layout/orgChart1"/>
    <dgm:cxn modelId="{1B0ABBAF-803D-491D-AB71-F204FE03E888}" type="presParOf" srcId="{6B1181E5-6C00-4DDE-A659-B7A8DF60DB3C}" destId="{1D7CB0D2-B38C-4AF4-B190-E21B4A708355}" srcOrd="1" destOrd="0" presId="urn:microsoft.com/office/officeart/2005/8/layout/orgChart1"/>
    <dgm:cxn modelId="{2139A4EC-3E68-4B13-A283-090BB7D8A803}" type="presParOf" srcId="{1D7CB0D2-B38C-4AF4-B190-E21B4A708355}" destId="{615A7B43-A318-496C-8475-CFF3EADB6F05}" srcOrd="0" destOrd="0" presId="urn:microsoft.com/office/officeart/2005/8/layout/orgChart1"/>
    <dgm:cxn modelId="{E4653C04-A50B-4EEF-8A73-7FFD5B4669E0}" type="presParOf" srcId="{1D7CB0D2-B38C-4AF4-B190-E21B4A708355}" destId="{D7E48855-C2C0-4705-8309-C0F6E9503D48}" srcOrd="1" destOrd="0" presId="urn:microsoft.com/office/officeart/2005/8/layout/orgChart1"/>
    <dgm:cxn modelId="{0123210A-FF6C-40EE-A39C-D77E292F610E}" type="presParOf" srcId="{D7E48855-C2C0-4705-8309-C0F6E9503D48}" destId="{F5A9A374-ED52-44CE-A26C-A64D33143DCF}" srcOrd="0" destOrd="0" presId="urn:microsoft.com/office/officeart/2005/8/layout/orgChart1"/>
    <dgm:cxn modelId="{D1630137-ECA9-4420-8024-A5525A6DB8B2}" type="presParOf" srcId="{F5A9A374-ED52-44CE-A26C-A64D33143DCF}" destId="{7127DCFB-7662-40AF-9B14-B719B94AB4CA}" srcOrd="0" destOrd="0" presId="urn:microsoft.com/office/officeart/2005/8/layout/orgChart1"/>
    <dgm:cxn modelId="{770390BE-9B0F-4BB3-8FB2-45247D30D3A6}" type="presParOf" srcId="{F5A9A374-ED52-44CE-A26C-A64D33143DCF}" destId="{8E1ACC98-5632-43B4-A93F-92563AB20DD8}" srcOrd="1" destOrd="0" presId="urn:microsoft.com/office/officeart/2005/8/layout/orgChart1"/>
    <dgm:cxn modelId="{D04A0C47-7377-4E2A-B85D-77B91B8C2DFB}" type="presParOf" srcId="{D7E48855-C2C0-4705-8309-C0F6E9503D48}" destId="{D2CF03BC-F7BF-4E23-A371-0150D311F5FC}" srcOrd="1" destOrd="0" presId="urn:microsoft.com/office/officeart/2005/8/layout/orgChart1"/>
    <dgm:cxn modelId="{18508815-0FAA-4102-9735-A72301509F55}" type="presParOf" srcId="{D7E48855-C2C0-4705-8309-C0F6E9503D48}" destId="{798BE0B1-1331-4B63-B960-E1F5DA4454FD}" srcOrd="2" destOrd="0" presId="urn:microsoft.com/office/officeart/2005/8/layout/orgChart1"/>
    <dgm:cxn modelId="{44E27978-4D67-4948-97A1-E7458160A711}" type="presParOf" srcId="{1D7CB0D2-B38C-4AF4-B190-E21B4A708355}" destId="{E8299CFC-01ED-4178-8D3D-BE883B5D81B8}" srcOrd="2" destOrd="0" presId="urn:microsoft.com/office/officeart/2005/8/layout/orgChart1"/>
    <dgm:cxn modelId="{1158A05C-E552-47A5-8299-4DA20C8C9419}" type="presParOf" srcId="{1D7CB0D2-B38C-4AF4-B190-E21B4A708355}" destId="{9C2DCFEC-F2E3-4583-BE24-0777D447A1F1}" srcOrd="3" destOrd="0" presId="urn:microsoft.com/office/officeart/2005/8/layout/orgChart1"/>
    <dgm:cxn modelId="{299D2FD1-7311-4880-95FD-75FC962BD5C4}" type="presParOf" srcId="{9C2DCFEC-F2E3-4583-BE24-0777D447A1F1}" destId="{A6981121-AC73-4EAD-B089-45828D9FC545}" srcOrd="0" destOrd="0" presId="urn:microsoft.com/office/officeart/2005/8/layout/orgChart1"/>
    <dgm:cxn modelId="{C41D5D94-0AC9-4275-AE08-43CF5C020B3A}" type="presParOf" srcId="{A6981121-AC73-4EAD-B089-45828D9FC545}" destId="{258E4475-E56F-42F4-B862-376E4CA687E4}" srcOrd="0" destOrd="0" presId="urn:microsoft.com/office/officeart/2005/8/layout/orgChart1"/>
    <dgm:cxn modelId="{95260C74-ED55-4AE5-B361-BF4C9FDB37E5}" type="presParOf" srcId="{A6981121-AC73-4EAD-B089-45828D9FC545}" destId="{8EAB1897-81F0-4830-A4B5-0EA0677D741A}" srcOrd="1" destOrd="0" presId="urn:microsoft.com/office/officeart/2005/8/layout/orgChart1"/>
    <dgm:cxn modelId="{A195260A-097C-4EE0-BABC-C23F4EB2D937}" type="presParOf" srcId="{9C2DCFEC-F2E3-4583-BE24-0777D447A1F1}" destId="{2A00E1A3-0554-4BAF-B4ED-62678F5FA3C2}" srcOrd="1" destOrd="0" presId="urn:microsoft.com/office/officeart/2005/8/layout/orgChart1"/>
    <dgm:cxn modelId="{B24F2C46-6DDA-436E-A5E5-74035F2F28CD}" type="presParOf" srcId="{9C2DCFEC-F2E3-4583-BE24-0777D447A1F1}" destId="{18083A02-A940-43DC-9682-172B39DAC61C}" srcOrd="2" destOrd="0" presId="urn:microsoft.com/office/officeart/2005/8/layout/orgChart1"/>
    <dgm:cxn modelId="{F2335FC8-0204-4094-AF2F-2BFCD2D5E7F1}" type="presParOf" srcId="{1D7CB0D2-B38C-4AF4-B190-E21B4A708355}" destId="{270C5CC7-6D94-4E15-BE87-543DF72E962E}" srcOrd="4" destOrd="0" presId="urn:microsoft.com/office/officeart/2005/8/layout/orgChart1"/>
    <dgm:cxn modelId="{2B23501B-BE8F-4354-8D3F-27D2AAEFC441}" type="presParOf" srcId="{1D7CB0D2-B38C-4AF4-B190-E21B4A708355}" destId="{09720EF7-BE3C-4D62-AA42-EEF17D29B666}" srcOrd="5" destOrd="0" presId="urn:microsoft.com/office/officeart/2005/8/layout/orgChart1"/>
    <dgm:cxn modelId="{A2F9C80F-7F21-490F-89D7-5BEDA5F58F6E}" type="presParOf" srcId="{09720EF7-BE3C-4D62-AA42-EEF17D29B666}" destId="{320FF2FF-6E31-4D20-B797-338D0673999E}" srcOrd="0" destOrd="0" presId="urn:microsoft.com/office/officeart/2005/8/layout/orgChart1"/>
    <dgm:cxn modelId="{1AA5BB1D-AB23-4152-8122-DBDF424DC366}" type="presParOf" srcId="{320FF2FF-6E31-4D20-B797-338D0673999E}" destId="{15F71370-6CCE-4D9A-BE5F-3225FEF90FC6}" srcOrd="0" destOrd="0" presId="urn:microsoft.com/office/officeart/2005/8/layout/orgChart1"/>
    <dgm:cxn modelId="{10925E51-3EEE-4D3A-A24D-B49E256C7CBD}" type="presParOf" srcId="{320FF2FF-6E31-4D20-B797-338D0673999E}" destId="{EAF820E4-E304-4FE5-A4F1-AC0681E936CF}" srcOrd="1" destOrd="0" presId="urn:microsoft.com/office/officeart/2005/8/layout/orgChart1"/>
    <dgm:cxn modelId="{8E43BFBE-093E-4202-B0A1-2B6F9AE4C5B4}" type="presParOf" srcId="{09720EF7-BE3C-4D62-AA42-EEF17D29B666}" destId="{C67AB2E0-954B-4EE7-A030-E8533501BC50}" srcOrd="1" destOrd="0" presId="urn:microsoft.com/office/officeart/2005/8/layout/orgChart1"/>
    <dgm:cxn modelId="{6BE4208D-5701-4D63-88E5-3E2F4286AB76}" type="presParOf" srcId="{09720EF7-BE3C-4D62-AA42-EEF17D29B666}" destId="{6ECAA431-0A57-41CD-9BD1-1A793143A646}" srcOrd="2" destOrd="0" presId="urn:microsoft.com/office/officeart/2005/8/layout/orgChart1"/>
    <dgm:cxn modelId="{1883EC36-8357-468D-A5F5-FD834C207924}" type="presParOf" srcId="{6B1181E5-6C00-4DDE-A659-B7A8DF60DB3C}" destId="{31639DC2-5D33-4E11-AA3D-90883AAF15B3}" srcOrd="2" destOrd="0" presId="urn:microsoft.com/office/officeart/2005/8/layout/orgChart1"/>
    <dgm:cxn modelId="{5501284B-52DC-474E-8F5D-55694C955200}" type="presParOf" srcId="{B1A764D9-D96A-4B53-B856-AEF52D45A3BA}" destId="{A5DB6C09-2874-4A40-B4CB-F0AD3E4490FB}"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97F4B6-5770-41EC-95AE-4BC25AF25D8D}">
      <dsp:nvSpPr>
        <dsp:cNvPr id="0" name=""/>
        <dsp:cNvSpPr/>
      </dsp:nvSpPr>
      <dsp:spPr>
        <a:xfrm>
          <a:off x="7832418" y="2127261"/>
          <a:ext cx="2490502" cy="271440"/>
        </a:xfrm>
        <a:custGeom>
          <a:avLst/>
          <a:gdLst/>
          <a:ahLst/>
          <a:cxnLst/>
          <a:rect l="0" t="0" r="0" b="0"/>
          <a:pathLst>
            <a:path>
              <a:moveTo>
                <a:pt x="0" y="0"/>
              </a:moveTo>
              <a:lnTo>
                <a:pt x="0" y="135720"/>
              </a:lnTo>
              <a:lnTo>
                <a:pt x="2490502" y="135720"/>
              </a:lnTo>
              <a:lnTo>
                <a:pt x="2490502"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24D290-0E8D-484C-BB88-96750904C767}">
      <dsp:nvSpPr>
        <dsp:cNvPr id="0" name=""/>
        <dsp:cNvSpPr/>
      </dsp:nvSpPr>
      <dsp:spPr>
        <a:xfrm>
          <a:off x="7832418" y="2127261"/>
          <a:ext cx="862197" cy="271440"/>
        </a:xfrm>
        <a:custGeom>
          <a:avLst/>
          <a:gdLst/>
          <a:ahLst/>
          <a:cxnLst/>
          <a:rect l="0" t="0" r="0" b="0"/>
          <a:pathLst>
            <a:path>
              <a:moveTo>
                <a:pt x="0" y="0"/>
              </a:moveTo>
              <a:lnTo>
                <a:pt x="0" y="135720"/>
              </a:lnTo>
              <a:lnTo>
                <a:pt x="862197" y="135720"/>
              </a:lnTo>
              <a:lnTo>
                <a:pt x="862197"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7B73C34-F600-48C1-A19F-9D2B46510881}">
      <dsp:nvSpPr>
        <dsp:cNvPr id="0" name=""/>
        <dsp:cNvSpPr/>
      </dsp:nvSpPr>
      <dsp:spPr>
        <a:xfrm>
          <a:off x="6939328" y="2127261"/>
          <a:ext cx="893089" cy="240043"/>
        </a:xfrm>
        <a:custGeom>
          <a:avLst/>
          <a:gdLst/>
          <a:ahLst/>
          <a:cxnLst/>
          <a:rect l="0" t="0" r="0" b="0"/>
          <a:pathLst>
            <a:path>
              <a:moveTo>
                <a:pt x="893089" y="0"/>
              </a:moveTo>
              <a:lnTo>
                <a:pt x="893089" y="104323"/>
              </a:lnTo>
              <a:lnTo>
                <a:pt x="0" y="104323"/>
              </a:lnTo>
              <a:lnTo>
                <a:pt x="0" y="24004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2582EF1-1794-42F1-8378-D815377931A4}">
      <dsp:nvSpPr>
        <dsp:cNvPr id="0" name=""/>
        <dsp:cNvSpPr/>
      </dsp:nvSpPr>
      <dsp:spPr>
        <a:xfrm>
          <a:off x="5341916" y="2127261"/>
          <a:ext cx="2490502" cy="271440"/>
        </a:xfrm>
        <a:custGeom>
          <a:avLst/>
          <a:gdLst/>
          <a:ahLst/>
          <a:cxnLst/>
          <a:rect l="0" t="0" r="0" b="0"/>
          <a:pathLst>
            <a:path>
              <a:moveTo>
                <a:pt x="2490502" y="0"/>
              </a:moveTo>
              <a:lnTo>
                <a:pt x="2490502" y="135720"/>
              </a:lnTo>
              <a:lnTo>
                <a:pt x="0" y="135720"/>
              </a:lnTo>
              <a:lnTo>
                <a:pt x="0"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872190-8250-4A4A-B835-AD72D9C8487D}">
      <dsp:nvSpPr>
        <dsp:cNvPr id="0" name=""/>
        <dsp:cNvSpPr/>
      </dsp:nvSpPr>
      <dsp:spPr>
        <a:xfrm>
          <a:off x="5023155" y="1209535"/>
          <a:ext cx="2809263" cy="271440"/>
        </a:xfrm>
        <a:custGeom>
          <a:avLst/>
          <a:gdLst/>
          <a:ahLst/>
          <a:cxnLst/>
          <a:rect l="0" t="0" r="0" b="0"/>
          <a:pathLst>
            <a:path>
              <a:moveTo>
                <a:pt x="0" y="0"/>
              </a:moveTo>
              <a:lnTo>
                <a:pt x="0" y="135720"/>
              </a:lnTo>
              <a:lnTo>
                <a:pt x="2809263" y="135720"/>
              </a:lnTo>
              <a:lnTo>
                <a:pt x="2809263" y="2714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5A37A0E-CB9B-4C1C-A5D3-A483E068B38B}">
      <dsp:nvSpPr>
        <dsp:cNvPr id="0" name=""/>
        <dsp:cNvSpPr/>
      </dsp:nvSpPr>
      <dsp:spPr>
        <a:xfrm>
          <a:off x="2213891" y="2127261"/>
          <a:ext cx="1564012" cy="271440"/>
        </a:xfrm>
        <a:custGeom>
          <a:avLst/>
          <a:gdLst/>
          <a:ahLst/>
          <a:cxnLst/>
          <a:rect l="0" t="0" r="0" b="0"/>
          <a:pathLst>
            <a:path>
              <a:moveTo>
                <a:pt x="0" y="0"/>
              </a:moveTo>
              <a:lnTo>
                <a:pt x="0" y="135720"/>
              </a:lnTo>
              <a:lnTo>
                <a:pt x="1564012" y="135720"/>
              </a:lnTo>
              <a:lnTo>
                <a:pt x="1564012"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7EB759A-E60E-4A01-8C97-867521477CAC}">
      <dsp:nvSpPr>
        <dsp:cNvPr id="0" name=""/>
        <dsp:cNvSpPr/>
      </dsp:nvSpPr>
      <dsp:spPr>
        <a:xfrm>
          <a:off x="2168171" y="2127261"/>
          <a:ext cx="91440" cy="271440"/>
        </a:xfrm>
        <a:custGeom>
          <a:avLst/>
          <a:gdLst/>
          <a:ahLst/>
          <a:cxnLst/>
          <a:rect l="0" t="0" r="0" b="0"/>
          <a:pathLst>
            <a:path>
              <a:moveTo>
                <a:pt x="45720" y="0"/>
              </a:moveTo>
              <a:lnTo>
                <a:pt x="45720"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372B3B-81EA-45FF-BC8E-0AF028310E56}">
      <dsp:nvSpPr>
        <dsp:cNvPr id="0" name=""/>
        <dsp:cNvSpPr/>
      </dsp:nvSpPr>
      <dsp:spPr>
        <a:xfrm>
          <a:off x="604158" y="3044987"/>
          <a:ext cx="91440" cy="271440"/>
        </a:xfrm>
        <a:custGeom>
          <a:avLst/>
          <a:gdLst/>
          <a:ahLst/>
          <a:cxnLst/>
          <a:rect l="0" t="0" r="0" b="0"/>
          <a:pathLst>
            <a:path>
              <a:moveTo>
                <a:pt x="45720" y="0"/>
              </a:moveTo>
              <a:lnTo>
                <a:pt x="45720"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BA78210-17DE-4EC9-B76C-686AE15AE520}">
      <dsp:nvSpPr>
        <dsp:cNvPr id="0" name=""/>
        <dsp:cNvSpPr/>
      </dsp:nvSpPr>
      <dsp:spPr>
        <a:xfrm>
          <a:off x="649878" y="2127261"/>
          <a:ext cx="1564012" cy="271440"/>
        </a:xfrm>
        <a:custGeom>
          <a:avLst/>
          <a:gdLst/>
          <a:ahLst/>
          <a:cxnLst/>
          <a:rect l="0" t="0" r="0" b="0"/>
          <a:pathLst>
            <a:path>
              <a:moveTo>
                <a:pt x="1564012" y="0"/>
              </a:moveTo>
              <a:lnTo>
                <a:pt x="1564012" y="135720"/>
              </a:lnTo>
              <a:lnTo>
                <a:pt x="0" y="135720"/>
              </a:lnTo>
              <a:lnTo>
                <a:pt x="0" y="27144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2283BA-7E39-4402-AF13-C9E0F3319303}">
      <dsp:nvSpPr>
        <dsp:cNvPr id="0" name=""/>
        <dsp:cNvSpPr/>
      </dsp:nvSpPr>
      <dsp:spPr>
        <a:xfrm>
          <a:off x="2213891" y="1209535"/>
          <a:ext cx="2809263" cy="271440"/>
        </a:xfrm>
        <a:custGeom>
          <a:avLst/>
          <a:gdLst/>
          <a:ahLst/>
          <a:cxnLst/>
          <a:rect l="0" t="0" r="0" b="0"/>
          <a:pathLst>
            <a:path>
              <a:moveTo>
                <a:pt x="2809263" y="0"/>
              </a:moveTo>
              <a:lnTo>
                <a:pt x="2809263" y="135720"/>
              </a:lnTo>
              <a:lnTo>
                <a:pt x="0" y="135720"/>
              </a:lnTo>
              <a:lnTo>
                <a:pt x="0" y="27144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86BB4E-18D7-4B22-A733-15A96D72073C}">
      <dsp:nvSpPr>
        <dsp:cNvPr id="0" name=""/>
        <dsp:cNvSpPr/>
      </dsp:nvSpPr>
      <dsp:spPr>
        <a:xfrm>
          <a:off x="4376868" y="563248"/>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hief Clinical Officer</a:t>
          </a:r>
        </a:p>
      </dsp:txBody>
      <dsp:txXfrm>
        <a:off x="4376868" y="563248"/>
        <a:ext cx="1292572" cy="646286"/>
      </dsp:txXfrm>
    </dsp:sp>
    <dsp:sp modelId="{F9B7DFFC-A32D-4B47-87D5-C92CE687886D}">
      <dsp:nvSpPr>
        <dsp:cNvPr id="0" name=""/>
        <dsp:cNvSpPr/>
      </dsp:nvSpPr>
      <dsp:spPr>
        <a:xfrm>
          <a:off x="1567605" y="1480975"/>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Director of Admissions and Family Services</a:t>
          </a:r>
        </a:p>
      </dsp:txBody>
      <dsp:txXfrm>
        <a:off x="1567605" y="1480975"/>
        <a:ext cx="1292572" cy="646286"/>
      </dsp:txXfrm>
    </dsp:sp>
    <dsp:sp modelId="{6A48EDA1-54B9-4A53-9A30-A07989C11C0E}">
      <dsp:nvSpPr>
        <dsp:cNvPr id="0" name=""/>
        <dsp:cNvSpPr/>
      </dsp:nvSpPr>
      <dsp:spPr>
        <a:xfrm>
          <a:off x="3592" y="2398701"/>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Admissions Manager</a:t>
          </a:r>
        </a:p>
      </dsp:txBody>
      <dsp:txXfrm>
        <a:off x="3592" y="2398701"/>
        <a:ext cx="1292572" cy="646286"/>
      </dsp:txXfrm>
    </dsp:sp>
    <dsp:sp modelId="{36E12490-BB68-4D0F-B1B6-5A559ACF3B72}">
      <dsp:nvSpPr>
        <dsp:cNvPr id="0" name=""/>
        <dsp:cNvSpPr/>
      </dsp:nvSpPr>
      <dsp:spPr>
        <a:xfrm>
          <a:off x="3592" y="3316427"/>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Admissions Specialist/Clerk</a:t>
          </a:r>
        </a:p>
      </dsp:txBody>
      <dsp:txXfrm>
        <a:off x="3592" y="3316427"/>
        <a:ext cx="1292572" cy="646286"/>
      </dsp:txXfrm>
    </dsp:sp>
    <dsp:sp modelId="{800F0796-91F7-4FC7-B61B-F438578AA8BF}">
      <dsp:nvSpPr>
        <dsp:cNvPr id="0" name=""/>
        <dsp:cNvSpPr/>
      </dsp:nvSpPr>
      <dsp:spPr>
        <a:xfrm>
          <a:off x="1567605" y="2398701"/>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Transition Specialist</a:t>
          </a:r>
        </a:p>
      </dsp:txBody>
      <dsp:txXfrm>
        <a:off x="1567605" y="2398701"/>
        <a:ext cx="1292572" cy="646286"/>
      </dsp:txXfrm>
    </dsp:sp>
    <dsp:sp modelId="{F39EC961-8B55-4A2E-B34D-27808DA6420F}">
      <dsp:nvSpPr>
        <dsp:cNvPr id="0" name=""/>
        <dsp:cNvSpPr/>
      </dsp:nvSpPr>
      <dsp:spPr>
        <a:xfrm>
          <a:off x="3131617" y="2398701"/>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Family Engagement Counselors</a:t>
          </a:r>
        </a:p>
      </dsp:txBody>
      <dsp:txXfrm>
        <a:off x="3131617" y="2398701"/>
        <a:ext cx="1292572" cy="646286"/>
      </dsp:txXfrm>
    </dsp:sp>
    <dsp:sp modelId="{5EC2875B-D9CC-4D9B-B035-16173D55F42E}">
      <dsp:nvSpPr>
        <dsp:cNvPr id="0" name=""/>
        <dsp:cNvSpPr/>
      </dsp:nvSpPr>
      <dsp:spPr>
        <a:xfrm>
          <a:off x="7186132" y="1480975"/>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Clinical Advisory Team</a:t>
          </a:r>
        </a:p>
      </dsp:txBody>
      <dsp:txXfrm>
        <a:off x="7186132" y="1480975"/>
        <a:ext cx="1292572" cy="646286"/>
      </dsp:txXfrm>
    </dsp:sp>
    <dsp:sp modelId="{326C290B-2F11-4486-B5C3-E306AD24B67F}">
      <dsp:nvSpPr>
        <dsp:cNvPr id="0" name=""/>
        <dsp:cNvSpPr/>
      </dsp:nvSpPr>
      <dsp:spPr>
        <a:xfrm>
          <a:off x="4695630" y="2398701"/>
          <a:ext cx="1292572" cy="646286"/>
        </a:xfrm>
        <a:prstGeom prst="rect">
          <a:avLst/>
        </a:prstGeom>
        <a:solidFill>
          <a:schemeClr val="accent4">
            <a:lumMod val="20000"/>
            <a:lumOff val="80000"/>
          </a:schemeClr>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8890" tIns="8890" rIns="8890" bIns="889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400" kern="1200" dirty="0">
              <a:solidFill>
                <a:schemeClr val="accent1"/>
              </a:solidFill>
              <a:latin typeface="+mn-lt"/>
              <a:ea typeface="+mn-ea"/>
              <a:cs typeface="+mn-cs"/>
            </a:rPr>
            <a:t>Clinical </a:t>
          </a:r>
          <a:r>
            <a:rPr lang="en-US" sz="1300" kern="1200" dirty="0">
              <a:solidFill>
                <a:schemeClr val="accent1"/>
              </a:solidFill>
              <a:latin typeface="+mn-lt"/>
              <a:ea typeface="+mn-ea"/>
              <a:cs typeface="+mn-cs"/>
            </a:rPr>
            <a:t>Advisor</a:t>
          </a:r>
          <a:r>
            <a:rPr lang="en-US" sz="1400" kern="1200" dirty="0">
              <a:solidFill>
                <a:schemeClr val="accent1"/>
              </a:solidFill>
              <a:latin typeface="+mn-lt"/>
              <a:ea typeface="+mn-ea"/>
              <a:cs typeface="+mn-cs"/>
            </a:rPr>
            <a:t> ABA</a:t>
          </a:r>
        </a:p>
      </dsp:txBody>
      <dsp:txXfrm>
        <a:off x="4695630" y="2398701"/>
        <a:ext cx="1292572" cy="646286"/>
      </dsp:txXfrm>
    </dsp:sp>
    <dsp:sp modelId="{1C76FE37-751C-41E4-B420-8D8975026EA4}">
      <dsp:nvSpPr>
        <dsp:cNvPr id="0" name=""/>
        <dsp:cNvSpPr/>
      </dsp:nvSpPr>
      <dsp:spPr>
        <a:xfrm>
          <a:off x="6212851" y="2367305"/>
          <a:ext cx="1452954" cy="646286"/>
        </a:xfrm>
        <a:prstGeom prst="rect">
          <a:avLst/>
        </a:prstGeom>
        <a:solidFill>
          <a:schemeClr val="accent4">
            <a:lumMod val="20000"/>
            <a:lumOff val="80000"/>
          </a:schemeClr>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8255" tIns="8255" rIns="8255" bIns="8255"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300" kern="1200" dirty="0">
              <a:solidFill>
                <a:schemeClr val="accent1"/>
              </a:solidFill>
              <a:latin typeface="+mn-lt"/>
              <a:ea typeface="+mn-ea"/>
              <a:cs typeface="+mn-cs"/>
            </a:rPr>
            <a:t>Clinical Advisor Mental Health</a:t>
          </a:r>
        </a:p>
      </dsp:txBody>
      <dsp:txXfrm>
        <a:off x="6212851" y="2367305"/>
        <a:ext cx="1452954" cy="646286"/>
      </dsp:txXfrm>
    </dsp:sp>
    <dsp:sp modelId="{46CCEBD5-935A-4AF9-B3E0-934FD6ECE5D7}">
      <dsp:nvSpPr>
        <dsp:cNvPr id="0" name=""/>
        <dsp:cNvSpPr/>
      </dsp:nvSpPr>
      <dsp:spPr>
        <a:xfrm>
          <a:off x="7984037" y="2398701"/>
          <a:ext cx="1421157" cy="646286"/>
        </a:xfrm>
        <a:prstGeom prst="rect">
          <a:avLst/>
        </a:prstGeom>
        <a:solidFill>
          <a:schemeClr val="accent4">
            <a:lumMod val="20000"/>
            <a:lumOff val="80000"/>
          </a:schemeClr>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8255" tIns="8255" rIns="8255" bIns="8255"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US" sz="1300" kern="1200" dirty="0">
              <a:solidFill>
                <a:schemeClr val="accent1"/>
              </a:solidFill>
              <a:latin typeface="+mn-lt"/>
              <a:ea typeface="+mn-ea"/>
              <a:cs typeface="+mn-cs"/>
            </a:rPr>
            <a:t>Clinical Advisor </a:t>
          </a:r>
          <a:r>
            <a:rPr lang="en-US" sz="1300" kern="1200" dirty="0">
              <a:solidFill>
                <a:srgbClr val="002F87"/>
              </a:solidFill>
              <a:latin typeface="Century Gothic"/>
              <a:ea typeface="+mn-ea"/>
              <a:cs typeface="+mn-cs"/>
            </a:rPr>
            <a:t>Related</a:t>
          </a:r>
          <a:r>
            <a:rPr lang="en-US" sz="1300" kern="1200" dirty="0">
              <a:solidFill>
                <a:schemeClr val="accent1"/>
              </a:solidFill>
              <a:latin typeface="+mn-lt"/>
              <a:ea typeface="+mn-ea"/>
              <a:cs typeface="+mn-cs"/>
            </a:rPr>
            <a:t> Services</a:t>
          </a:r>
        </a:p>
      </dsp:txBody>
      <dsp:txXfrm>
        <a:off x="7984037" y="2398701"/>
        <a:ext cx="1421157" cy="646286"/>
      </dsp:txXfrm>
    </dsp:sp>
    <dsp:sp modelId="{358A5EF5-CC11-42EE-9050-C151AE37BE17}">
      <dsp:nvSpPr>
        <dsp:cNvPr id="0" name=""/>
        <dsp:cNvSpPr/>
      </dsp:nvSpPr>
      <dsp:spPr>
        <a:xfrm>
          <a:off x="9676634" y="2398701"/>
          <a:ext cx="1292572" cy="64628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dirty="0"/>
            <a:t>Psychologist</a:t>
          </a:r>
        </a:p>
      </dsp:txBody>
      <dsp:txXfrm>
        <a:off x="9676634" y="2398701"/>
        <a:ext cx="1292572" cy="6462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10E218-1ADF-475B-A07E-1A2C175A8DDC}">
      <dsp:nvSpPr>
        <dsp:cNvPr id="0" name=""/>
        <dsp:cNvSpPr/>
      </dsp:nvSpPr>
      <dsp:spPr>
        <a:xfrm>
          <a:off x="7003359" y="1208099"/>
          <a:ext cx="3966225" cy="197444"/>
        </a:xfrm>
        <a:custGeom>
          <a:avLst/>
          <a:gdLst/>
          <a:ahLst/>
          <a:cxnLst/>
          <a:rect l="0" t="0" r="0" b="0"/>
          <a:pathLst>
            <a:path>
              <a:moveTo>
                <a:pt x="0" y="0"/>
              </a:moveTo>
              <a:lnTo>
                <a:pt x="0" y="92968"/>
              </a:lnTo>
              <a:lnTo>
                <a:pt x="3966225" y="92968"/>
              </a:lnTo>
              <a:lnTo>
                <a:pt x="3966225" y="19744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4DCDB34-CC50-48CE-94C7-F4C4C8E909F4}">
      <dsp:nvSpPr>
        <dsp:cNvPr id="0" name=""/>
        <dsp:cNvSpPr/>
      </dsp:nvSpPr>
      <dsp:spPr>
        <a:xfrm>
          <a:off x="9482683" y="1914556"/>
          <a:ext cx="149251" cy="457704"/>
        </a:xfrm>
        <a:custGeom>
          <a:avLst/>
          <a:gdLst/>
          <a:ahLst/>
          <a:cxnLst/>
          <a:rect l="0" t="0" r="0" b="0"/>
          <a:pathLst>
            <a:path>
              <a:moveTo>
                <a:pt x="0" y="0"/>
              </a:moveTo>
              <a:lnTo>
                <a:pt x="0" y="457704"/>
              </a:lnTo>
              <a:lnTo>
                <a:pt x="149251" y="4577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9BADD2E-1C67-4A3D-9E6B-69D611722CD3}">
      <dsp:nvSpPr>
        <dsp:cNvPr id="0" name=""/>
        <dsp:cNvSpPr/>
      </dsp:nvSpPr>
      <dsp:spPr>
        <a:xfrm>
          <a:off x="7003359" y="1208099"/>
          <a:ext cx="2877327" cy="208951"/>
        </a:xfrm>
        <a:custGeom>
          <a:avLst/>
          <a:gdLst/>
          <a:ahLst/>
          <a:cxnLst/>
          <a:rect l="0" t="0" r="0" b="0"/>
          <a:pathLst>
            <a:path>
              <a:moveTo>
                <a:pt x="0" y="0"/>
              </a:moveTo>
              <a:lnTo>
                <a:pt x="0" y="104475"/>
              </a:lnTo>
              <a:lnTo>
                <a:pt x="2877327" y="104475"/>
              </a:lnTo>
              <a:lnTo>
                <a:pt x="2877327"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FFBFBF-0EAF-49D8-A7DD-AC80D388558C}">
      <dsp:nvSpPr>
        <dsp:cNvPr id="0" name=""/>
        <dsp:cNvSpPr/>
      </dsp:nvSpPr>
      <dsp:spPr>
        <a:xfrm>
          <a:off x="8278722" y="1914556"/>
          <a:ext cx="149251" cy="457704"/>
        </a:xfrm>
        <a:custGeom>
          <a:avLst/>
          <a:gdLst/>
          <a:ahLst/>
          <a:cxnLst/>
          <a:rect l="0" t="0" r="0" b="0"/>
          <a:pathLst>
            <a:path>
              <a:moveTo>
                <a:pt x="0" y="0"/>
              </a:moveTo>
              <a:lnTo>
                <a:pt x="0" y="457704"/>
              </a:lnTo>
              <a:lnTo>
                <a:pt x="149251" y="4577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FA2BE3-C156-41E9-B6B1-FB6E8B146081}">
      <dsp:nvSpPr>
        <dsp:cNvPr id="0" name=""/>
        <dsp:cNvSpPr/>
      </dsp:nvSpPr>
      <dsp:spPr>
        <a:xfrm>
          <a:off x="7003359" y="1208099"/>
          <a:ext cx="1673366" cy="208951"/>
        </a:xfrm>
        <a:custGeom>
          <a:avLst/>
          <a:gdLst/>
          <a:ahLst/>
          <a:cxnLst/>
          <a:rect l="0" t="0" r="0" b="0"/>
          <a:pathLst>
            <a:path>
              <a:moveTo>
                <a:pt x="0" y="0"/>
              </a:moveTo>
              <a:lnTo>
                <a:pt x="0" y="104475"/>
              </a:lnTo>
              <a:lnTo>
                <a:pt x="1673366" y="104475"/>
              </a:lnTo>
              <a:lnTo>
                <a:pt x="1673366"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BFBE6D-66A9-4778-A101-1E980BBC3A7C}">
      <dsp:nvSpPr>
        <dsp:cNvPr id="0" name=""/>
        <dsp:cNvSpPr/>
      </dsp:nvSpPr>
      <dsp:spPr>
        <a:xfrm>
          <a:off x="7074761" y="1914556"/>
          <a:ext cx="149251" cy="457704"/>
        </a:xfrm>
        <a:custGeom>
          <a:avLst/>
          <a:gdLst/>
          <a:ahLst/>
          <a:cxnLst/>
          <a:rect l="0" t="0" r="0" b="0"/>
          <a:pathLst>
            <a:path>
              <a:moveTo>
                <a:pt x="0" y="0"/>
              </a:moveTo>
              <a:lnTo>
                <a:pt x="0" y="457704"/>
              </a:lnTo>
              <a:lnTo>
                <a:pt x="149251" y="4577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2868DE-FA3F-456B-9909-93FE86A72657}">
      <dsp:nvSpPr>
        <dsp:cNvPr id="0" name=""/>
        <dsp:cNvSpPr/>
      </dsp:nvSpPr>
      <dsp:spPr>
        <a:xfrm>
          <a:off x="7003359" y="1208099"/>
          <a:ext cx="469405" cy="208951"/>
        </a:xfrm>
        <a:custGeom>
          <a:avLst/>
          <a:gdLst/>
          <a:ahLst/>
          <a:cxnLst/>
          <a:rect l="0" t="0" r="0" b="0"/>
          <a:pathLst>
            <a:path>
              <a:moveTo>
                <a:pt x="0" y="0"/>
              </a:moveTo>
              <a:lnTo>
                <a:pt x="0" y="104475"/>
              </a:lnTo>
              <a:lnTo>
                <a:pt x="469405" y="104475"/>
              </a:lnTo>
              <a:lnTo>
                <a:pt x="469405"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CB6210-5E09-4DEF-89EA-CEE98677EED7}">
      <dsp:nvSpPr>
        <dsp:cNvPr id="0" name=""/>
        <dsp:cNvSpPr/>
      </dsp:nvSpPr>
      <dsp:spPr>
        <a:xfrm>
          <a:off x="5870800" y="1914556"/>
          <a:ext cx="149251" cy="457704"/>
        </a:xfrm>
        <a:custGeom>
          <a:avLst/>
          <a:gdLst/>
          <a:ahLst/>
          <a:cxnLst/>
          <a:rect l="0" t="0" r="0" b="0"/>
          <a:pathLst>
            <a:path>
              <a:moveTo>
                <a:pt x="0" y="0"/>
              </a:moveTo>
              <a:lnTo>
                <a:pt x="0" y="457704"/>
              </a:lnTo>
              <a:lnTo>
                <a:pt x="149251" y="4577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500E65-95BF-4AC7-B6A3-DE665825F8B8}">
      <dsp:nvSpPr>
        <dsp:cNvPr id="0" name=""/>
        <dsp:cNvSpPr/>
      </dsp:nvSpPr>
      <dsp:spPr>
        <a:xfrm>
          <a:off x="6268804" y="1208099"/>
          <a:ext cx="734555" cy="208951"/>
        </a:xfrm>
        <a:custGeom>
          <a:avLst/>
          <a:gdLst/>
          <a:ahLst/>
          <a:cxnLst/>
          <a:rect l="0" t="0" r="0" b="0"/>
          <a:pathLst>
            <a:path>
              <a:moveTo>
                <a:pt x="734555" y="0"/>
              </a:moveTo>
              <a:lnTo>
                <a:pt x="734555" y="104475"/>
              </a:lnTo>
              <a:lnTo>
                <a:pt x="0" y="104475"/>
              </a:lnTo>
              <a:lnTo>
                <a:pt x="0"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86AABDB-BE67-4DBE-9E3B-A6547D894849}">
      <dsp:nvSpPr>
        <dsp:cNvPr id="0" name=""/>
        <dsp:cNvSpPr/>
      </dsp:nvSpPr>
      <dsp:spPr>
        <a:xfrm>
          <a:off x="5156831" y="1208099"/>
          <a:ext cx="1846527" cy="220459"/>
        </a:xfrm>
        <a:custGeom>
          <a:avLst/>
          <a:gdLst/>
          <a:ahLst/>
          <a:cxnLst/>
          <a:rect l="0" t="0" r="0" b="0"/>
          <a:pathLst>
            <a:path>
              <a:moveTo>
                <a:pt x="1846527" y="0"/>
              </a:moveTo>
              <a:lnTo>
                <a:pt x="1846527" y="115983"/>
              </a:lnTo>
              <a:lnTo>
                <a:pt x="0" y="115983"/>
              </a:lnTo>
              <a:lnTo>
                <a:pt x="0" y="2204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B19617-CAF6-4657-8034-2FD135E0A41A}">
      <dsp:nvSpPr>
        <dsp:cNvPr id="0" name=""/>
        <dsp:cNvSpPr/>
      </dsp:nvSpPr>
      <dsp:spPr>
        <a:xfrm>
          <a:off x="4915592" y="2621012"/>
          <a:ext cx="149251" cy="2577073"/>
        </a:xfrm>
        <a:custGeom>
          <a:avLst/>
          <a:gdLst/>
          <a:ahLst/>
          <a:cxnLst/>
          <a:rect l="0" t="0" r="0" b="0"/>
          <a:pathLst>
            <a:path>
              <a:moveTo>
                <a:pt x="0" y="0"/>
              </a:moveTo>
              <a:lnTo>
                <a:pt x="0" y="2577073"/>
              </a:lnTo>
              <a:lnTo>
                <a:pt x="149251" y="257707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29D143-7DCC-4E3C-93A7-F623D9BEF44D}">
      <dsp:nvSpPr>
        <dsp:cNvPr id="0" name=""/>
        <dsp:cNvSpPr/>
      </dsp:nvSpPr>
      <dsp:spPr>
        <a:xfrm>
          <a:off x="4915592" y="2621012"/>
          <a:ext cx="149251" cy="1870616"/>
        </a:xfrm>
        <a:custGeom>
          <a:avLst/>
          <a:gdLst/>
          <a:ahLst/>
          <a:cxnLst/>
          <a:rect l="0" t="0" r="0" b="0"/>
          <a:pathLst>
            <a:path>
              <a:moveTo>
                <a:pt x="0" y="0"/>
              </a:moveTo>
              <a:lnTo>
                <a:pt x="0" y="1870616"/>
              </a:lnTo>
              <a:lnTo>
                <a:pt x="149251" y="187061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BA2ED22-69BD-4805-A073-91F9075D2B46}">
      <dsp:nvSpPr>
        <dsp:cNvPr id="0" name=""/>
        <dsp:cNvSpPr/>
      </dsp:nvSpPr>
      <dsp:spPr>
        <a:xfrm>
          <a:off x="4915592" y="2621012"/>
          <a:ext cx="149251" cy="1164160"/>
        </a:xfrm>
        <a:custGeom>
          <a:avLst/>
          <a:gdLst/>
          <a:ahLst/>
          <a:cxnLst/>
          <a:rect l="0" t="0" r="0" b="0"/>
          <a:pathLst>
            <a:path>
              <a:moveTo>
                <a:pt x="0" y="0"/>
              </a:moveTo>
              <a:lnTo>
                <a:pt x="0" y="1164160"/>
              </a:lnTo>
              <a:lnTo>
                <a:pt x="149251" y="116416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F847A50-CC34-4799-A443-2969B138129A}">
      <dsp:nvSpPr>
        <dsp:cNvPr id="0" name=""/>
        <dsp:cNvSpPr/>
      </dsp:nvSpPr>
      <dsp:spPr>
        <a:xfrm>
          <a:off x="4915592" y="2621012"/>
          <a:ext cx="149251" cy="457704"/>
        </a:xfrm>
        <a:custGeom>
          <a:avLst/>
          <a:gdLst/>
          <a:ahLst/>
          <a:cxnLst/>
          <a:rect l="0" t="0" r="0" b="0"/>
          <a:pathLst>
            <a:path>
              <a:moveTo>
                <a:pt x="0" y="0"/>
              </a:moveTo>
              <a:lnTo>
                <a:pt x="0" y="457704"/>
              </a:lnTo>
              <a:lnTo>
                <a:pt x="149251" y="4577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35AB3D-4FFB-4232-8E26-A0C9BC127F3B}">
      <dsp:nvSpPr>
        <dsp:cNvPr id="0" name=""/>
        <dsp:cNvSpPr/>
      </dsp:nvSpPr>
      <dsp:spPr>
        <a:xfrm>
          <a:off x="2905673" y="1914556"/>
          <a:ext cx="2407921" cy="208951"/>
        </a:xfrm>
        <a:custGeom>
          <a:avLst/>
          <a:gdLst/>
          <a:ahLst/>
          <a:cxnLst/>
          <a:rect l="0" t="0" r="0" b="0"/>
          <a:pathLst>
            <a:path>
              <a:moveTo>
                <a:pt x="0" y="0"/>
              </a:moveTo>
              <a:lnTo>
                <a:pt x="0" y="104475"/>
              </a:lnTo>
              <a:lnTo>
                <a:pt x="2407921" y="104475"/>
              </a:lnTo>
              <a:lnTo>
                <a:pt x="2407921"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1E12E0-9EC4-420E-8447-34C8E5655286}">
      <dsp:nvSpPr>
        <dsp:cNvPr id="0" name=""/>
        <dsp:cNvSpPr/>
      </dsp:nvSpPr>
      <dsp:spPr>
        <a:xfrm>
          <a:off x="3730735" y="2649668"/>
          <a:ext cx="130147" cy="2548417"/>
        </a:xfrm>
        <a:custGeom>
          <a:avLst/>
          <a:gdLst/>
          <a:ahLst/>
          <a:cxnLst/>
          <a:rect l="0" t="0" r="0" b="0"/>
          <a:pathLst>
            <a:path>
              <a:moveTo>
                <a:pt x="0" y="0"/>
              </a:moveTo>
              <a:lnTo>
                <a:pt x="0" y="2548417"/>
              </a:lnTo>
              <a:lnTo>
                <a:pt x="130147" y="254841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4C31F8-A271-48CF-BCCC-51BE3B598757}">
      <dsp:nvSpPr>
        <dsp:cNvPr id="0" name=""/>
        <dsp:cNvSpPr/>
      </dsp:nvSpPr>
      <dsp:spPr>
        <a:xfrm>
          <a:off x="3730735" y="2649668"/>
          <a:ext cx="131858" cy="1841960"/>
        </a:xfrm>
        <a:custGeom>
          <a:avLst/>
          <a:gdLst/>
          <a:ahLst/>
          <a:cxnLst/>
          <a:rect l="0" t="0" r="0" b="0"/>
          <a:pathLst>
            <a:path>
              <a:moveTo>
                <a:pt x="0" y="0"/>
              </a:moveTo>
              <a:lnTo>
                <a:pt x="0" y="1841960"/>
              </a:lnTo>
              <a:lnTo>
                <a:pt x="131858" y="184196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DA0F64-BC6C-4F68-806C-26BC35A22C08}">
      <dsp:nvSpPr>
        <dsp:cNvPr id="0" name=""/>
        <dsp:cNvSpPr/>
      </dsp:nvSpPr>
      <dsp:spPr>
        <a:xfrm>
          <a:off x="3730735" y="2649668"/>
          <a:ext cx="130147" cy="1135504"/>
        </a:xfrm>
        <a:custGeom>
          <a:avLst/>
          <a:gdLst/>
          <a:ahLst/>
          <a:cxnLst/>
          <a:rect l="0" t="0" r="0" b="0"/>
          <a:pathLst>
            <a:path>
              <a:moveTo>
                <a:pt x="0" y="0"/>
              </a:moveTo>
              <a:lnTo>
                <a:pt x="0" y="1135504"/>
              </a:lnTo>
              <a:lnTo>
                <a:pt x="130147" y="11355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AB3598-72BD-488E-B783-ED7130A6023F}">
      <dsp:nvSpPr>
        <dsp:cNvPr id="0" name=""/>
        <dsp:cNvSpPr/>
      </dsp:nvSpPr>
      <dsp:spPr>
        <a:xfrm>
          <a:off x="3730735" y="2649668"/>
          <a:ext cx="131858" cy="429047"/>
        </a:xfrm>
        <a:custGeom>
          <a:avLst/>
          <a:gdLst/>
          <a:ahLst/>
          <a:cxnLst/>
          <a:rect l="0" t="0" r="0" b="0"/>
          <a:pathLst>
            <a:path>
              <a:moveTo>
                <a:pt x="0" y="0"/>
              </a:moveTo>
              <a:lnTo>
                <a:pt x="0" y="429047"/>
              </a:lnTo>
              <a:lnTo>
                <a:pt x="131858" y="42904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B2AB050-A336-4CBA-B88A-568BBE74D817}">
      <dsp:nvSpPr>
        <dsp:cNvPr id="0" name=""/>
        <dsp:cNvSpPr/>
      </dsp:nvSpPr>
      <dsp:spPr>
        <a:xfrm>
          <a:off x="2905673" y="1914556"/>
          <a:ext cx="1223065" cy="237608"/>
        </a:xfrm>
        <a:custGeom>
          <a:avLst/>
          <a:gdLst/>
          <a:ahLst/>
          <a:cxnLst/>
          <a:rect l="0" t="0" r="0" b="0"/>
          <a:pathLst>
            <a:path>
              <a:moveTo>
                <a:pt x="0" y="0"/>
              </a:moveTo>
              <a:lnTo>
                <a:pt x="0" y="133132"/>
              </a:lnTo>
              <a:lnTo>
                <a:pt x="1223065" y="133132"/>
              </a:lnTo>
              <a:lnTo>
                <a:pt x="1223065" y="23760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73B73B-8152-4B3B-B8D1-8B79DD44CD90}">
      <dsp:nvSpPr>
        <dsp:cNvPr id="0" name=""/>
        <dsp:cNvSpPr/>
      </dsp:nvSpPr>
      <dsp:spPr>
        <a:xfrm>
          <a:off x="2526774" y="2649668"/>
          <a:ext cx="130147" cy="2548417"/>
        </a:xfrm>
        <a:custGeom>
          <a:avLst/>
          <a:gdLst/>
          <a:ahLst/>
          <a:cxnLst/>
          <a:rect l="0" t="0" r="0" b="0"/>
          <a:pathLst>
            <a:path>
              <a:moveTo>
                <a:pt x="0" y="0"/>
              </a:moveTo>
              <a:lnTo>
                <a:pt x="0" y="2548417"/>
              </a:lnTo>
              <a:lnTo>
                <a:pt x="130147" y="254841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BD35A4-B0E3-4085-9410-A46734042A6B}">
      <dsp:nvSpPr>
        <dsp:cNvPr id="0" name=""/>
        <dsp:cNvSpPr/>
      </dsp:nvSpPr>
      <dsp:spPr>
        <a:xfrm>
          <a:off x="2526774" y="2649668"/>
          <a:ext cx="131858" cy="1841960"/>
        </a:xfrm>
        <a:custGeom>
          <a:avLst/>
          <a:gdLst/>
          <a:ahLst/>
          <a:cxnLst/>
          <a:rect l="0" t="0" r="0" b="0"/>
          <a:pathLst>
            <a:path>
              <a:moveTo>
                <a:pt x="0" y="0"/>
              </a:moveTo>
              <a:lnTo>
                <a:pt x="0" y="1841960"/>
              </a:lnTo>
              <a:lnTo>
                <a:pt x="131858" y="184196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FA96D6-E130-46C9-A75C-1D864AAA16EB}">
      <dsp:nvSpPr>
        <dsp:cNvPr id="0" name=""/>
        <dsp:cNvSpPr/>
      </dsp:nvSpPr>
      <dsp:spPr>
        <a:xfrm>
          <a:off x="2526774" y="2649668"/>
          <a:ext cx="130147" cy="1135504"/>
        </a:xfrm>
        <a:custGeom>
          <a:avLst/>
          <a:gdLst/>
          <a:ahLst/>
          <a:cxnLst/>
          <a:rect l="0" t="0" r="0" b="0"/>
          <a:pathLst>
            <a:path>
              <a:moveTo>
                <a:pt x="0" y="0"/>
              </a:moveTo>
              <a:lnTo>
                <a:pt x="0" y="1135504"/>
              </a:lnTo>
              <a:lnTo>
                <a:pt x="130147" y="11355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C30AD0-1BF1-49DE-BBBF-050125F44676}">
      <dsp:nvSpPr>
        <dsp:cNvPr id="0" name=""/>
        <dsp:cNvSpPr/>
      </dsp:nvSpPr>
      <dsp:spPr>
        <a:xfrm>
          <a:off x="2526774" y="2649668"/>
          <a:ext cx="131858" cy="429047"/>
        </a:xfrm>
        <a:custGeom>
          <a:avLst/>
          <a:gdLst/>
          <a:ahLst/>
          <a:cxnLst/>
          <a:rect l="0" t="0" r="0" b="0"/>
          <a:pathLst>
            <a:path>
              <a:moveTo>
                <a:pt x="0" y="0"/>
              </a:moveTo>
              <a:lnTo>
                <a:pt x="0" y="429047"/>
              </a:lnTo>
              <a:lnTo>
                <a:pt x="131858" y="42904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4067E5A-491A-4221-9208-DC9724217A52}">
      <dsp:nvSpPr>
        <dsp:cNvPr id="0" name=""/>
        <dsp:cNvSpPr/>
      </dsp:nvSpPr>
      <dsp:spPr>
        <a:xfrm>
          <a:off x="2859953" y="1914556"/>
          <a:ext cx="91440" cy="237608"/>
        </a:xfrm>
        <a:custGeom>
          <a:avLst/>
          <a:gdLst/>
          <a:ahLst/>
          <a:cxnLst/>
          <a:rect l="0" t="0" r="0" b="0"/>
          <a:pathLst>
            <a:path>
              <a:moveTo>
                <a:pt x="45720" y="0"/>
              </a:moveTo>
              <a:lnTo>
                <a:pt x="45720" y="133132"/>
              </a:lnTo>
              <a:lnTo>
                <a:pt x="64824" y="133132"/>
              </a:lnTo>
              <a:lnTo>
                <a:pt x="64824" y="23760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3008FE-CD19-456A-A01A-50749EF77492}">
      <dsp:nvSpPr>
        <dsp:cNvPr id="0" name=""/>
        <dsp:cNvSpPr/>
      </dsp:nvSpPr>
      <dsp:spPr>
        <a:xfrm>
          <a:off x="1701712" y="1914556"/>
          <a:ext cx="1203960" cy="208951"/>
        </a:xfrm>
        <a:custGeom>
          <a:avLst/>
          <a:gdLst/>
          <a:ahLst/>
          <a:cxnLst/>
          <a:rect l="0" t="0" r="0" b="0"/>
          <a:pathLst>
            <a:path>
              <a:moveTo>
                <a:pt x="1203960" y="0"/>
              </a:moveTo>
              <a:lnTo>
                <a:pt x="1203960" y="104475"/>
              </a:lnTo>
              <a:lnTo>
                <a:pt x="0" y="104475"/>
              </a:lnTo>
              <a:lnTo>
                <a:pt x="0"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643B93-8C2C-43F5-B745-79C7E0F0F249}">
      <dsp:nvSpPr>
        <dsp:cNvPr id="0" name=""/>
        <dsp:cNvSpPr/>
      </dsp:nvSpPr>
      <dsp:spPr>
        <a:xfrm>
          <a:off x="497751" y="1914556"/>
          <a:ext cx="2407921" cy="208951"/>
        </a:xfrm>
        <a:custGeom>
          <a:avLst/>
          <a:gdLst/>
          <a:ahLst/>
          <a:cxnLst/>
          <a:rect l="0" t="0" r="0" b="0"/>
          <a:pathLst>
            <a:path>
              <a:moveTo>
                <a:pt x="2407921" y="0"/>
              </a:moveTo>
              <a:lnTo>
                <a:pt x="2407921" y="104475"/>
              </a:lnTo>
              <a:lnTo>
                <a:pt x="0" y="104475"/>
              </a:lnTo>
              <a:lnTo>
                <a:pt x="0"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ED9990-A0CC-4608-9427-1ECE9162B7E7}">
      <dsp:nvSpPr>
        <dsp:cNvPr id="0" name=""/>
        <dsp:cNvSpPr/>
      </dsp:nvSpPr>
      <dsp:spPr>
        <a:xfrm>
          <a:off x="2905673" y="1208099"/>
          <a:ext cx="4097686" cy="208951"/>
        </a:xfrm>
        <a:custGeom>
          <a:avLst/>
          <a:gdLst/>
          <a:ahLst/>
          <a:cxnLst/>
          <a:rect l="0" t="0" r="0" b="0"/>
          <a:pathLst>
            <a:path>
              <a:moveTo>
                <a:pt x="4097686" y="0"/>
              </a:moveTo>
              <a:lnTo>
                <a:pt x="4097686" y="104475"/>
              </a:lnTo>
              <a:lnTo>
                <a:pt x="0" y="104475"/>
              </a:lnTo>
              <a:lnTo>
                <a:pt x="0" y="20895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7FF7D13-8AA9-47C3-8255-D3D861631748}">
      <dsp:nvSpPr>
        <dsp:cNvPr id="0" name=""/>
        <dsp:cNvSpPr/>
      </dsp:nvSpPr>
      <dsp:spPr>
        <a:xfrm>
          <a:off x="6953112" y="513269"/>
          <a:ext cx="91440" cy="197325"/>
        </a:xfrm>
        <a:custGeom>
          <a:avLst/>
          <a:gdLst/>
          <a:ahLst/>
          <a:cxnLst/>
          <a:rect l="0" t="0" r="0" b="0"/>
          <a:pathLst>
            <a:path>
              <a:moveTo>
                <a:pt x="45720" y="0"/>
              </a:moveTo>
              <a:lnTo>
                <a:pt x="45720" y="92849"/>
              </a:lnTo>
              <a:lnTo>
                <a:pt x="50247" y="92849"/>
              </a:lnTo>
              <a:lnTo>
                <a:pt x="50247" y="19732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8EFBAE-F24D-4607-8056-41FD753C7A0D}">
      <dsp:nvSpPr>
        <dsp:cNvPr id="0" name=""/>
        <dsp:cNvSpPr/>
      </dsp:nvSpPr>
      <dsp:spPr>
        <a:xfrm>
          <a:off x="6501327" y="15765"/>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hief Education Officer</a:t>
          </a:r>
        </a:p>
      </dsp:txBody>
      <dsp:txXfrm>
        <a:off x="6501327" y="15765"/>
        <a:ext cx="995009" cy="497504"/>
      </dsp:txXfrm>
    </dsp:sp>
    <dsp:sp modelId="{5C13A3CF-5101-4405-863A-A3E2CCBB22AB}">
      <dsp:nvSpPr>
        <dsp:cNvPr id="0" name=""/>
        <dsp:cNvSpPr/>
      </dsp:nvSpPr>
      <dsp:spPr>
        <a:xfrm>
          <a:off x="6505855" y="710595"/>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Director of Youth Residential Services</a:t>
          </a:r>
        </a:p>
      </dsp:txBody>
      <dsp:txXfrm>
        <a:off x="6505855" y="710595"/>
        <a:ext cx="995009" cy="497504"/>
      </dsp:txXfrm>
    </dsp:sp>
    <dsp:sp modelId="{8CC729E0-048C-4A38-B2A1-88086D3534AD}">
      <dsp:nvSpPr>
        <dsp:cNvPr id="0" name=""/>
        <dsp:cNvSpPr/>
      </dsp:nvSpPr>
      <dsp:spPr>
        <a:xfrm>
          <a:off x="2408169" y="1417051"/>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Clinical Services</a:t>
          </a:r>
        </a:p>
      </dsp:txBody>
      <dsp:txXfrm>
        <a:off x="2408169" y="1417051"/>
        <a:ext cx="995009" cy="497504"/>
      </dsp:txXfrm>
    </dsp:sp>
    <dsp:sp modelId="{CA5243E6-FBF9-46A3-87A8-AA20927F9878}">
      <dsp:nvSpPr>
        <dsp:cNvPr id="0" name=""/>
        <dsp:cNvSpPr/>
      </dsp:nvSpPr>
      <dsp:spPr>
        <a:xfrm>
          <a:off x="247" y="2123508"/>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Wknd. BCBA</a:t>
          </a:r>
        </a:p>
      </dsp:txBody>
      <dsp:txXfrm>
        <a:off x="247" y="2123508"/>
        <a:ext cx="995009" cy="497504"/>
      </dsp:txXfrm>
    </dsp:sp>
    <dsp:sp modelId="{FF662F56-BB04-4B25-A305-7C6DAE5E6114}">
      <dsp:nvSpPr>
        <dsp:cNvPr id="0" name=""/>
        <dsp:cNvSpPr/>
      </dsp:nvSpPr>
      <dsp:spPr>
        <a:xfrm>
          <a:off x="1204208" y="2123508"/>
          <a:ext cx="995009" cy="497504"/>
        </a:xfrm>
        <a:prstGeom prst="rect">
          <a:avLst/>
        </a:prstGeom>
        <a:solidFill>
          <a:srgbClr val="002F87">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FFFFF"/>
              </a:solidFill>
              <a:latin typeface="Century Gothic"/>
              <a:ea typeface="+mn-ea"/>
              <a:cs typeface="+mn-cs"/>
            </a:rPr>
            <a:t>Student Services Manager</a:t>
          </a:r>
        </a:p>
      </dsp:txBody>
      <dsp:txXfrm>
        <a:off x="1204208" y="2123508"/>
        <a:ext cx="995009" cy="497504"/>
      </dsp:txXfrm>
    </dsp:sp>
    <dsp:sp modelId="{BD892431-E279-4FAF-BD13-E4A4FBEEACAC}">
      <dsp:nvSpPr>
        <dsp:cNvPr id="0" name=""/>
        <dsp:cNvSpPr/>
      </dsp:nvSpPr>
      <dsp:spPr>
        <a:xfrm>
          <a:off x="2427273" y="2152164"/>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inical Case Manager</a:t>
          </a:r>
        </a:p>
        <a:p>
          <a:pPr marL="0" lvl="0" indent="0" algn="ctr" defTabSz="311150">
            <a:lnSpc>
              <a:spcPct val="90000"/>
            </a:lnSpc>
            <a:spcBef>
              <a:spcPct val="0"/>
            </a:spcBef>
            <a:spcAft>
              <a:spcPct val="35000"/>
            </a:spcAft>
            <a:buNone/>
          </a:pPr>
          <a:r>
            <a:rPr lang="en-US" sz="700" kern="1200" dirty="0">
              <a:solidFill>
                <a:schemeClr val="accent1"/>
              </a:solidFill>
            </a:rPr>
            <a:t>Willow, Pine, Maple</a:t>
          </a:r>
        </a:p>
      </dsp:txBody>
      <dsp:txXfrm>
        <a:off x="2427273" y="2152164"/>
        <a:ext cx="995009" cy="497504"/>
      </dsp:txXfrm>
    </dsp:sp>
    <dsp:sp modelId="{BB9456C3-1730-4153-BAC1-76A7B7DE168E}">
      <dsp:nvSpPr>
        <dsp:cNvPr id="0" name=""/>
        <dsp:cNvSpPr/>
      </dsp:nvSpPr>
      <dsp:spPr>
        <a:xfrm>
          <a:off x="2658632" y="2829964"/>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BCBA</a:t>
          </a:r>
        </a:p>
      </dsp:txBody>
      <dsp:txXfrm>
        <a:off x="2658632" y="2829964"/>
        <a:ext cx="995009" cy="497504"/>
      </dsp:txXfrm>
    </dsp:sp>
    <dsp:sp modelId="{D133B60E-B11D-41E6-983D-AFA56DD8A857}">
      <dsp:nvSpPr>
        <dsp:cNvPr id="0" name=""/>
        <dsp:cNvSpPr/>
      </dsp:nvSpPr>
      <dsp:spPr>
        <a:xfrm>
          <a:off x="2656921" y="3536420"/>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OT</a:t>
          </a:r>
        </a:p>
      </dsp:txBody>
      <dsp:txXfrm>
        <a:off x="2656921" y="3536420"/>
        <a:ext cx="995009" cy="497504"/>
      </dsp:txXfrm>
    </dsp:sp>
    <dsp:sp modelId="{6D9C4384-C201-400C-9F66-F43E8A6B3EBC}">
      <dsp:nvSpPr>
        <dsp:cNvPr id="0" name=""/>
        <dsp:cNvSpPr/>
      </dsp:nvSpPr>
      <dsp:spPr>
        <a:xfrm>
          <a:off x="2658632" y="4242877"/>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SLP</a:t>
          </a:r>
        </a:p>
      </dsp:txBody>
      <dsp:txXfrm>
        <a:off x="2658632" y="4242877"/>
        <a:ext cx="995009" cy="497504"/>
      </dsp:txXfrm>
    </dsp:sp>
    <dsp:sp modelId="{E5A8D694-AD1C-4826-86E7-9D6DCB9E1BCF}">
      <dsp:nvSpPr>
        <dsp:cNvPr id="0" name=""/>
        <dsp:cNvSpPr/>
      </dsp:nvSpPr>
      <dsp:spPr>
        <a:xfrm>
          <a:off x="2656921" y="4949333"/>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Counselor</a:t>
          </a:r>
        </a:p>
      </dsp:txBody>
      <dsp:txXfrm>
        <a:off x="2656921" y="4949333"/>
        <a:ext cx="995009" cy="497504"/>
      </dsp:txXfrm>
    </dsp:sp>
    <dsp:sp modelId="{E5C5F92F-6F25-462F-AF8F-6112574BA167}">
      <dsp:nvSpPr>
        <dsp:cNvPr id="0" name=""/>
        <dsp:cNvSpPr/>
      </dsp:nvSpPr>
      <dsp:spPr>
        <a:xfrm>
          <a:off x="3631234" y="2152164"/>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inical Case Manager</a:t>
          </a:r>
        </a:p>
        <a:p>
          <a:pPr marL="0" lvl="0" indent="0" algn="ctr" defTabSz="311150">
            <a:lnSpc>
              <a:spcPct val="90000"/>
            </a:lnSpc>
            <a:spcBef>
              <a:spcPct val="0"/>
            </a:spcBef>
            <a:spcAft>
              <a:spcPct val="35000"/>
            </a:spcAft>
            <a:buNone/>
          </a:pPr>
          <a:r>
            <a:rPr lang="en-US" sz="700" kern="1200" dirty="0">
              <a:solidFill>
                <a:schemeClr val="accent1"/>
              </a:solidFill>
            </a:rPr>
            <a:t>Cedar, Sassafras, Mulberry</a:t>
          </a:r>
        </a:p>
      </dsp:txBody>
      <dsp:txXfrm>
        <a:off x="3631234" y="2152164"/>
        <a:ext cx="995009" cy="497504"/>
      </dsp:txXfrm>
    </dsp:sp>
    <dsp:sp modelId="{9BF330ED-773F-45AE-BFF2-2A9E6324428E}">
      <dsp:nvSpPr>
        <dsp:cNvPr id="0" name=""/>
        <dsp:cNvSpPr/>
      </dsp:nvSpPr>
      <dsp:spPr>
        <a:xfrm>
          <a:off x="3862593" y="2829964"/>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BCBA</a:t>
          </a:r>
        </a:p>
      </dsp:txBody>
      <dsp:txXfrm>
        <a:off x="3862593" y="2829964"/>
        <a:ext cx="995009" cy="497504"/>
      </dsp:txXfrm>
    </dsp:sp>
    <dsp:sp modelId="{1C363F96-B440-42B6-A547-56600F95A979}">
      <dsp:nvSpPr>
        <dsp:cNvPr id="0" name=""/>
        <dsp:cNvSpPr/>
      </dsp:nvSpPr>
      <dsp:spPr>
        <a:xfrm>
          <a:off x="3860882" y="3536420"/>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OT</a:t>
          </a:r>
        </a:p>
      </dsp:txBody>
      <dsp:txXfrm>
        <a:off x="3860882" y="3536420"/>
        <a:ext cx="995009" cy="497504"/>
      </dsp:txXfrm>
    </dsp:sp>
    <dsp:sp modelId="{50F93FED-FAD8-4246-8380-95E5FD1CAFCF}">
      <dsp:nvSpPr>
        <dsp:cNvPr id="0" name=""/>
        <dsp:cNvSpPr/>
      </dsp:nvSpPr>
      <dsp:spPr>
        <a:xfrm>
          <a:off x="3862593" y="4242877"/>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SLP</a:t>
          </a:r>
        </a:p>
      </dsp:txBody>
      <dsp:txXfrm>
        <a:off x="3862593" y="4242877"/>
        <a:ext cx="995009" cy="497504"/>
      </dsp:txXfrm>
    </dsp:sp>
    <dsp:sp modelId="{901B3078-2251-40B5-B048-64F4648E7EA1}">
      <dsp:nvSpPr>
        <dsp:cNvPr id="0" name=""/>
        <dsp:cNvSpPr/>
      </dsp:nvSpPr>
      <dsp:spPr>
        <a:xfrm>
          <a:off x="3860882" y="4949333"/>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Counselor</a:t>
          </a:r>
        </a:p>
      </dsp:txBody>
      <dsp:txXfrm>
        <a:off x="3860882" y="4949333"/>
        <a:ext cx="995009" cy="497504"/>
      </dsp:txXfrm>
    </dsp:sp>
    <dsp:sp modelId="{924A49D4-E97A-4CD2-8F7D-BC5B66DBB0A4}">
      <dsp:nvSpPr>
        <dsp:cNvPr id="0" name=""/>
        <dsp:cNvSpPr/>
      </dsp:nvSpPr>
      <dsp:spPr>
        <a:xfrm>
          <a:off x="4816091" y="2123508"/>
          <a:ext cx="995009" cy="497504"/>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04243A"/>
              </a:solidFill>
              <a:latin typeface="Century Gothic"/>
              <a:ea typeface="+mn-ea"/>
              <a:cs typeface="+mn-cs"/>
            </a:rPr>
            <a:t>Clinical Case Manager</a:t>
          </a:r>
        </a:p>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Dogwood, Chestnut, Walnut</a:t>
          </a:r>
        </a:p>
      </dsp:txBody>
      <dsp:txXfrm>
        <a:off x="4816091" y="2123508"/>
        <a:ext cx="995009" cy="497504"/>
      </dsp:txXfrm>
    </dsp:sp>
    <dsp:sp modelId="{57EC7246-DBF5-472E-9518-085661C0E74C}">
      <dsp:nvSpPr>
        <dsp:cNvPr id="0" name=""/>
        <dsp:cNvSpPr/>
      </dsp:nvSpPr>
      <dsp:spPr>
        <a:xfrm>
          <a:off x="5064843" y="2829964"/>
          <a:ext cx="995009" cy="497504"/>
        </a:xfrm>
        <a:prstGeom prst="rect">
          <a:avLst/>
        </a:prstGeom>
        <a:solidFill>
          <a:srgbClr val="A1DED2">
            <a:lumMod val="20000"/>
            <a:lumOff val="80000"/>
          </a:srgbClr>
        </a:solidFill>
        <a:ln w="25400" cap="flat" cmpd="sng" algn="ctr">
          <a:solidFill>
            <a:srgbClr val="002F87"/>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BCBA</a:t>
          </a:r>
        </a:p>
      </dsp:txBody>
      <dsp:txXfrm>
        <a:off x="5064843" y="2829964"/>
        <a:ext cx="995009" cy="497504"/>
      </dsp:txXfrm>
    </dsp:sp>
    <dsp:sp modelId="{52C722D9-3A55-4BA1-B5FE-CEA252C222C9}">
      <dsp:nvSpPr>
        <dsp:cNvPr id="0" name=""/>
        <dsp:cNvSpPr/>
      </dsp:nvSpPr>
      <dsp:spPr>
        <a:xfrm>
          <a:off x="5064843" y="3536420"/>
          <a:ext cx="995009" cy="497504"/>
        </a:xfrm>
        <a:prstGeom prst="rect">
          <a:avLst/>
        </a:prstGeom>
        <a:solidFill>
          <a:srgbClr val="A1DED2">
            <a:lumMod val="20000"/>
            <a:lumOff val="80000"/>
          </a:srgbClr>
        </a:solidFill>
        <a:ln w="25400" cap="flat" cmpd="sng" algn="ctr">
          <a:solidFill>
            <a:srgbClr val="002F87"/>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SLP</a:t>
          </a:r>
        </a:p>
      </dsp:txBody>
      <dsp:txXfrm>
        <a:off x="5064843" y="3536420"/>
        <a:ext cx="995009" cy="497504"/>
      </dsp:txXfrm>
    </dsp:sp>
    <dsp:sp modelId="{C9D8AB3C-E5B7-4D82-A08A-E98580C5055B}">
      <dsp:nvSpPr>
        <dsp:cNvPr id="0" name=""/>
        <dsp:cNvSpPr/>
      </dsp:nvSpPr>
      <dsp:spPr>
        <a:xfrm>
          <a:off x="5064843" y="4242877"/>
          <a:ext cx="995009" cy="497504"/>
        </a:xfrm>
        <a:prstGeom prst="rect">
          <a:avLst/>
        </a:prstGeom>
        <a:solidFill>
          <a:srgbClr val="A1DED2">
            <a:lumMod val="20000"/>
            <a:lumOff val="80000"/>
          </a:srgbClr>
        </a:solidFill>
        <a:ln w="25400" cap="flat" cmpd="sng" algn="ctr">
          <a:solidFill>
            <a:srgbClr val="002F87"/>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OT</a:t>
          </a:r>
        </a:p>
      </dsp:txBody>
      <dsp:txXfrm>
        <a:off x="5064843" y="4242877"/>
        <a:ext cx="995009" cy="497504"/>
      </dsp:txXfrm>
    </dsp:sp>
    <dsp:sp modelId="{7966A048-677B-4B2A-BF85-0A786EFFCBDA}">
      <dsp:nvSpPr>
        <dsp:cNvPr id="0" name=""/>
        <dsp:cNvSpPr/>
      </dsp:nvSpPr>
      <dsp:spPr>
        <a:xfrm>
          <a:off x="5064843" y="4949333"/>
          <a:ext cx="995009" cy="497504"/>
        </a:xfrm>
        <a:prstGeom prst="rect">
          <a:avLst/>
        </a:prstGeom>
        <a:solidFill>
          <a:srgbClr val="A1DED2">
            <a:lumMod val="20000"/>
            <a:lumOff val="80000"/>
          </a:srgbClr>
        </a:solidFill>
        <a:ln w="25400" cap="flat" cmpd="sng" algn="ctr">
          <a:solidFill>
            <a:srgbClr val="002F87"/>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002F87"/>
              </a:solidFill>
              <a:latin typeface="Century Gothic"/>
              <a:ea typeface="+mn-ea"/>
              <a:cs typeface="+mn-cs"/>
            </a:rPr>
            <a:t>Counselor</a:t>
          </a:r>
        </a:p>
      </dsp:txBody>
      <dsp:txXfrm>
        <a:off x="5064843" y="4949333"/>
        <a:ext cx="995009" cy="497504"/>
      </dsp:txXfrm>
    </dsp:sp>
    <dsp:sp modelId="{B94123BB-5C69-4716-9BD0-9FEA21E7532F}">
      <dsp:nvSpPr>
        <dsp:cNvPr id="0" name=""/>
        <dsp:cNvSpPr/>
      </dsp:nvSpPr>
      <dsp:spPr>
        <a:xfrm>
          <a:off x="4659327" y="1428558"/>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Weekend Supervisor</a:t>
          </a:r>
        </a:p>
      </dsp:txBody>
      <dsp:txXfrm>
        <a:off x="4659327" y="1428558"/>
        <a:ext cx="995009" cy="497504"/>
      </dsp:txXfrm>
    </dsp:sp>
    <dsp:sp modelId="{E060FA0A-299D-41EB-81B2-4FB6923B8E59}">
      <dsp:nvSpPr>
        <dsp:cNvPr id="0" name=""/>
        <dsp:cNvSpPr/>
      </dsp:nvSpPr>
      <dsp:spPr>
        <a:xfrm>
          <a:off x="5771299" y="1417051"/>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Overnight Supervisor</a:t>
          </a:r>
        </a:p>
      </dsp:txBody>
      <dsp:txXfrm>
        <a:off x="5771299" y="1417051"/>
        <a:ext cx="995009" cy="497504"/>
      </dsp:txXfrm>
    </dsp:sp>
    <dsp:sp modelId="{39C8021A-BF60-40BA-A52D-BE2ADCFBB379}">
      <dsp:nvSpPr>
        <dsp:cNvPr id="0" name=""/>
        <dsp:cNvSpPr/>
      </dsp:nvSpPr>
      <dsp:spPr>
        <a:xfrm>
          <a:off x="6020052" y="2123508"/>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t. OVN (3)</a:t>
          </a:r>
        </a:p>
      </dsp:txBody>
      <dsp:txXfrm>
        <a:off x="6020052" y="2123508"/>
        <a:ext cx="995009" cy="497504"/>
      </dsp:txXfrm>
    </dsp:sp>
    <dsp:sp modelId="{C51BF866-E3D8-4FC4-B274-A6EE0B240849}">
      <dsp:nvSpPr>
        <dsp:cNvPr id="0" name=""/>
        <dsp:cNvSpPr/>
      </dsp:nvSpPr>
      <dsp:spPr>
        <a:xfrm>
          <a:off x="6975260" y="1417051"/>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Youth Res</a:t>
          </a:r>
        </a:p>
      </dsp:txBody>
      <dsp:txXfrm>
        <a:off x="6975260" y="1417051"/>
        <a:ext cx="995009" cy="497504"/>
      </dsp:txXfrm>
    </dsp:sp>
    <dsp:sp modelId="{5933B140-47DD-4D81-A8D8-F4EB3AC841AC}">
      <dsp:nvSpPr>
        <dsp:cNvPr id="0" name=""/>
        <dsp:cNvSpPr/>
      </dsp:nvSpPr>
      <dsp:spPr>
        <a:xfrm>
          <a:off x="7224013" y="2123508"/>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Program Managers 3 residences</a:t>
          </a:r>
        </a:p>
      </dsp:txBody>
      <dsp:txXfrm>
        <a:off x="7224013" y="2123508"/>
        <a:ext cx="995009" cy="497504"/>
      </dsp:txXfrm>
    </dsp:sp>
    <dsp:sp modelId="{06DD17CA-236E-4859-BB61-E237B20DA056}">
      <dsp:nvSpPr>
        <dsp:cNvPr id="0" name=""/>
        <dsp:cNvSpPr/>
      </dsp:nvSpPr>
      <dsp:spPr>
        <a:xfrm>
          <a:off x="8179221" y="1417051"/>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Youth Res</a:t>
          </a:r>
        </a:p>
      </dsp:txBody>
      <dsp:txXfrm>
        <a:off x="8179221" y="1417051"/>
        <a:ext cx="995009" cy="497504"/>
      </dsp:txXfrm>
    </dsp:sp>
    <dsp:sp modelId="{A71D1EC5-AC46-4350-8796-307499F8CBA7}">
      <dsp:nvSpPr>
        <dsp:cNvPr id="0" name=""/>
        <dsp:cNvSpPr/>
      </dsp:nvSpPr>
      <dsp:spPr>
        <a:xfrm>
          <a:off x="8427973" y="2123508"/>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Program Managers 3 residences</a:t>
          </a:r>
        </a:p>
      </dsp:txBody>
      <dsp:txXfrm>
        <a:off x="8427973" y="2123508"/>
        <a:ext cx="995009" cy="497504"/>
      </dsp:txXfrm>
    </dsp:sp>
    <dsp:sp modelId="{A1AB14D4-A178-4825-9D0E-78D07E086F7D}">
      <dsp:nvSpPr>
        <dsp:cNvPr id="0" name=""/>
        <dsp:cNvSpPr/>
      </dsp:nvSpPr>
      <dsp:spPr>
        <a:xfrm>
          <a:off x="9383182" y="1417051"/>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Youth Res</a:t>
          </a:r>
        </a:p>
      </dsp:txBody>
      <dsp:txXfrm>
        <a:off x="9383182" y="1417051"/>
        <a:ext cx="995009" cy="497504"/>
      </dsp:txXfrm>
    </dsp:sp>
    <dsp:sp modelId="{E3A255B9-48E6-4C5C-B8D9-4436957C93F3}">
      <dsp:nvSpPr>
        <dsp:cNvPr id="0" name=""/>
        <dsp:cNvSpPr/>
      </dsp:nvSpPr>
      <dsp:spPr>
        <a:xfrm>
          <a:off x="9631934" y="2123508"/>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Program Managers 3 residences</a:t>
          </a:r>
        </a:p>
      </dsp:txBody>
      <dsp:txXfrm>
        <a:off x="9631934" y="2123508"/>
        <a:ext cx="995009" cy="497504"/>
      </dsp:txXfrm>
    </dsp:sp>
    <dsp:sp modelId="{47676A2E-4168-429C-BE8C-A3D294DA0AD6}">
      <dsp:nvSpPr>
        <dsp:cNvPr id="0" name=""/>
        <dsp:cNvSpPr/>
      </dsp:nvSpPr>
      <dsp:spPr>
        <a:xfrm>
          <a:off x="10472080" y="1405544"/>
          <a:ext cx="995009" cy="49750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a:t>Res. Support Specialists (2)</a:t>
          </a:r>
          <a:endParaRPr lang="en-US" sz="700" kern="1200" dirty="0"/>
        </a:p>
      </dsp:txBody>
      <dsp:txXfrm>
        <a:off x="10472080" y="1405544"/>
        <a:ext cx="995009" cy="4975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1566E-00D3-4A49-BDC7-44A0C7303108}">
      <dsp:nvSpPr>
        <dsp:cNvPr id="0" name=""/>
        <dsp:cNvSpPr/>
      </dsp:nvSpPr>
      <dsp:spPr>
        <a:xfrm>
          <a:off x="8794047" y="1616670"/>
          <a:ext cx="126165" cy="386906"/>
        </a:xfrm>
        <a:custGeom>
          <a:avLst/>
          <a:gdLst/>
          <a:ahLst/>
          <a:cxnLst/>
          <a:rect l="0" t="0" r="0" b="0"/>
          <a:pathLst>
            <a:path>
              <a:moveTo>
                <a:pt x="0" y="0"/>
              </a:moveTo>
              <a:lnTo>
                <a:pt x="0" y="386906"/>
              </a:lnTo>
              <a:lnTo>
                <a:pt x="126165" y="3869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DB9E89-80C5-4E4B-AA92-4CB2A56F7806}">
      <dsp:nvSpPr>
        <dsp:cNvPr id="0" name=""/>
        <dsp:cNvSpPr/>
      </dsp:nvSpPr>
      <dsp:spPr>
        <a:xfrm>
          <a:off x="5631210" y="1019487"/>
          <a:ext cx="3499277" cy="176631"/>
        </a:xfrm>
        <a:custGeom>
          <a:avLst/>
          <a:gdLst/>
          <a:ahLst/>
          <a:cxnLst/>
          <a:rect l="0" t="0" r="0" b="0"/>
          <a:pathLst>
            <a:path>
              <a:moveTo>
                <a:pt x="0" y="0"/>
              </a:moveTo>
              <a:lnTo>
                <a:pt x="0" y="88315"/>
              </a:lnTo>
              <a:lnTo>
                <a:pt x="3499277" y="88315"/>
              </a:lnTo>
              <a:lnTo>
                <a:pt x="3499277"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644B6A-B35C-43AC-95BF-81D0FBD1F32B}">
      <dsp:nvSpPr>
        <dsp:cNvPr id="0" name=""/>
        <dsp:cNvSpPr/>
      </dsp:nvSpPr>
      <dsp:spPr>
        <a:xfrm>
          <a:off x="7776314" y="1616670"/>
          <a:ext cx="126165" cy="386906"/>
        </a:xfrm>
        <a:custGeom>
          <a:avLst/>
          <a:gdLst/>
          <a:ahLst/>
          <a:cxnLst/>
          <a:rect l="0" t="0" r="0" b="0"/>
          <a:pathLst>
            <a:path>
              <a:moveTo>
                <a:pt x="0" y="0"/>
              </a:moveTo>
              <a:lnTo>
                <a:pt x="0" y="386906"/>
              </a:lnTo>
              <a:lnTo>
                <a:pt x="126165" y="3869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0FA2BE3-C156-41E9-B6B1-FB6E8B146081}">
      <dsp:nvSpPr>
        <dsp:cNvPr id="0" name=""/>
        <dsp:cNvSpPr/>
      </dsp:nvSpPr>
      <dsp:spPr>
        <a:xfrm>
          <a:off x="5631210" y="1019487"/>
          <a:ext cx="2481544" cy="176631"/>
        </a:xfrm>
        <a:custGeom>
          <a:avLst/>
          <a:gdLst/>
          <a:ahLst/>
          <a:cxnLst/>
          <a:rect l="0" t="0" r="0" b="0"/>
          <a:pathLst>
            <a:path>
              <a:moveTo>
                <a:pt x="0" y="0"/>
              </a:moveTo>
              <a:lnTo>
                <a:pt x="0" y="88315"/>
              </a:lnTo>
              <a:lnTo>
                <a:pt x="2481544" y="88315"/>
              </a:lnTo>
              <a:lnTo>
                <a:pt x="2481544"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E53F8E-6E5B-403B-B889-B62778314B75}">
      <dsp:nvSpPr>
        <dsp:cNvPr id="0" name=""/>
        <dsp:cNvSpPr/>
      </dsp:nvSpPr>
      <dsp:spPr>
        <a:xfrm>
          <a:off x="6758581" y="1616670"/>
          <a:ext cx="126165" cy="386906"/>
        </a:xfrm>
        <a:custGeom>
          <a:avLst/>
          <a:gdLst/>
          <a:ahLst/>
          <a:cxnLst/>
          <a:rect l="0" t="0" r="0" b="0"/>
          <a:pathLst>
            <a:path>
              <a:moveTo>
                <a:pt x="0" y="0"/>
              </a:moveTo>
              <a:lnTo>
                <a:pt x="0" y="386906"/>
              </a:lnTo>
              <a:lnTo>
                <a:pt x="126165" y="3869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2868DE-FA3F-456B-9909-93FE86A72657}">
      <dsp:nvSpPr>
        <dsp:cNvPr id="0" name=""/>
        <dsp:cNvSpPr/>
      </dsp:nvSpPr>
      <dsp:spPr>
        <a:xfrm>
          <a:off x="5631210" y="1019487"/>
          <a:ext cx="1463811" cy="176631"/>
        </a:xfrm>
        <a:custGeom>
          <a:avLst/>
          <a:gdLst/>
          <a:ahLst/>
          <a:cxnLst/>
          <a:rect l="0" t="0" r="0" b="0"/>
          <a:pathLst>
            <a:path>
              <a:moveTo>
                <a:pt x="0" y="0"/>
              </a:moveTo>
              <a:lnTo>
                <a:pt x="0" y="88315"/>
              </a:lnTo>
              <a:lnTo>
                <a:pt x="1463811" y="88315"/>
              </a:lnTo>
              <a:lnTo>
                <a:pt x="1463811"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D693B3-85E2-41C5-89EE-2FCFD404A5A1}">
      <dsp:nvSpPr>
        <dsp:cNvPr id="0" name=""/>
        <dsp:cNvSpPr/>
      </dsp:nvSpPr>
      <dsp:spPr>
        <a:xfrm>
          <a:off x="5269831" y="1616670"/>
          <a:ext cx="1017732" cy="176631"/>
        </a:xfrm>
        <a:custGeom>
          <a:avLst/>
          <a:gdLst/>
          <a:ahLst/>
          <a:cxnLst/>
          <a:rect l="0" t="0" r="0" b="0"/>
          <a:pathLst>
            <a:path>
              <a:moveTo>
                <a:pt x="0" y="0"/>
              </a:moveTo>
              <a:lnTo>
                <a:pt x="0" y="88315"/>
              </a:lnTo>
              <a:lnTo>
                <a:pt x="1017732" y="88315"/>
              </a:lnTo>
              <a:lnTo>
                <a:pt x="1017732"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137469-BFA2-4F7E-ABC0-69DF396BDF41}">
      <dsp:nvSpPr>
        <dsp:cNvPr id="0" name=""/>
        <dsp:cNvSpPr/>
      </dsp:nvSpPr>
      <dsp:spPr>
        <a:xfrm>
          <a:off x="4933390" y="2213852"/>
          <a:ext cx="126165" cy="1581271"/>
        </a:xfrm>
        <a:custGeom>
          <a:avLst/>
          <a:gdLst/>
          <a:ahLst/>
          <a:cxnLst/>
          <a:rect l="0" t="0" r="0" b="0"/>
          <a:pathLst>
            <a:path>
              <a:moveTo>
                <a:pt x="0" y="0"/>
              </a:moveTo>
              <a:lnTo>
                <a:pt x="0" y="1581271"/>
              </a:lnTo>
              <a:lnTo>
                <a:pt x="126165" y="158127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CCFC51-7331-48D1-8041-30007ED84642}">
      <dsp:nvSpPr>
        <dsp:cNvPr id="0" name=""/>
        <dsp:cNvSpPr/>
      </dsp:nvSpPr>
      <dsp:spPr>
        <a:xfrm>
          <a:off x="4933390" y="2213852"/>
          <a:ext cx="126165" cy="984088"/>
        </a:xfrm>
        <a:custGeom>
          <a:avLst/>
          <a:gdLst/>
          <a:ahLst/>
          <a:cxnLst/>
          <a:rect l="0" t="0" r="0" b="0"/>
          <a:pathLst>
            <a:path>
              <a:moveTo>
                <a:pt x="0" y="0"/>
              </a:moveTo>
              <a:lnTo>
                <a:pt x="0" y="984088"/>
              </a:lnTo>
              <a:lnTo>
                <a:pt x="126165" y="98408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599ED6-4B63-44D0-96DD-4ED365750D0F}">
      <dsp:nvSpPr>
        <dsp:cNvPr id="0" name=""/>
        <dsp:cNvSpPr/>
      </dsp:nvSpPr>
      <dsp:spPr>
        <a:xfrm>
          <a:off x="4933390" y="2213852"/>
          <a:ext cx="126165" cy="386906"/>
        </a:xfrm>
        <a:custGeom>
          <a:avLst/>
          <a:gdLst/>
          <a:ahLst/>
          <a:cxnLst/>
          <a:rect l="0" t="0" r="0" b="0"/>
          <a:pathLst>
            <a:path>
              <a:moveTo>
                <a:pt x="0" y="0"/>
              </a:moveTo>
              <a:lnTo>
                <a:pt x="0" y="386906"/>
              </a:lnTo>
              <a:lnTo>
                <a:pt x="126165" y="3869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418032-8E20-485F-8805-50BA71082A60}">
      <dsp:nvSpPr>
        <dsp:cNvPr id="0" name=""/>
        <dsp:cNvSpPr/>
      </dsp:nvSpPr>
      <dsp:spPr>
        <a:xfrm>
          <a:off x="5224111" y="1616670"/>
          <a:ext cx="91440" cy="176631"/>
        </a:xfrm>
        <a:custGeom>
          <a:avLst/>
          <a:gdLst/>
          <a:ahLst/>
          <a:cxnLst/>
          <a:rect l="0" t="0" r="0" b="0"/>
          <a:pathLst>
            <a:path>
              <a:moveTo>
                <a:pt x="45720" y="0"/>
              </a:moveTo>
              <a:lnTo>
                <a:pt x="45720"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26A813-4E7D-4C7C-B46A-DCC75B4E2BC1}">
      <dsp:nvSpPr>
        <dsp:cNvPr id="0" name=""/>
        <dsp:cNvSpPr/>
      </dsp:nvSpPr>
      <dsp:spPr>
        <a:xfrm>
          <a:off x="3915657" y="2213852"/>
          <a:ext cx="126165" cy="1581271"/>
        </a:xfrm>
        <a:custGeom>
          <a:avLst/>
          <a:gdLst/>
          <a:ahLst/>
          <a:cxnLst/>
          <a:rect l="0" t="0" r="0" b="0"/>
          <a:pathLst>
            <a:path>
              <a:moveTo>
                <a:pt x="0" y="0"/>
              </a:moveTo>
              <a:lnTo>
                <a:pt x="0" y="1581271"/>
              </a:lnTo>
              <a:lnTo>
                <a:pt x="126165" y="158127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AA59A54-575E-4550-8B2A-8AC8C518C2D0}">
      <dsp:nvSpPr>
        <dsp:cNvPr id="0" name=""/>
        <dsp:cNvSpPr/>
      </dsp:nvSpPr>
      <dsp:spPr>
        <a:xfrm>
          <a:off x="3915657" y="2213852"/>
          <a:ext cx="126165" cy="984088"/>
        </a:xfrm>
        <a:custGeom>
          <a:avLst/>
          <a:gdLst/>
          <a:ahLst/>
          <a:cxnLst/>
          <a:rect l="0" t="0" r="0" b="0"/>
          <a:pathLst>
            <a:path>
              <a:moveTo>
                <a:pt x="0" y="0"/>
              </a:moveTo>
              <a:lnTo>
                <a:pt x="0" y="984088"/>
              </a:lnTo>
              <a:lnTo>
                <a:pt x="126165" y="98408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E89310-FC42-4CFC-AF78-B4FFFB7E26DF}">
      <dsp:nvSpPr>
        <dsp:cNvPr id="0" name=""/>
        <dsp:cNvSpPr/>
      </dsp:nvSpPr>
      <dsp:spPr>
        <a:xfrm>
          <a:off x="3915657" y="2213852"/>
          <a:ext cx="126165" cy="386906"/>
        </a:xfrm>
        <a:custGeom>
          <a:avLst/>
          <a:gdLst/>
          <a:ahLst/>
          <a:cxnLst/>
          <a:rect l="0" t="0" r="0" b="0"/>
          <a:pathLst>
            <a:path>
              <a:moveTo>
                <a:pt x="0" y="0"/>
              </a:moveTo>
              <a:lnTo>
                <a:pt x="0" y="386906"/>
              </a:lnTo>
              <a:lnTo>
                <a:pt x="126165" y="3869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C06B786-1B4D-444A-9D4E-38A75AB08222}">
      <dsp:nvSpPr>
        <dsp:cNvPr id="0" name=""/>
        <dsp:cNvSpPr/>
      </dsp:nvSpPr>
      <dsp:spPr>
        <a:xfrm>
          <a:off x="4252098" y="1616670"/>
          <a:ext cx="1017732" cy="176631"/>
        </a:xfrm>
        <a:custGeom>
          <a:avLst/>
          <a:gdLst/>
          <a:ahLst/>
          <a:cxnLst/>
          <a:rect l="0" t="0" r="0" b="0"/>
          <a:pathLst>
            <a:path>
              <a:moveTo>
                <a:pt x="1017732" y="0"/>
              </a:moveTo>
              <a:lnTo>
                <a:pt x="1017732" y="88315"/>
              </a:lnTo>
              <a:lnTo>
                <a:pt x="0" y="88315"/>
              </a:lnTo>
              <a:lnTo>
                <a:pt x="0"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DE103C2-4CA4-447B-AE83-5860DCE92497}">
      <dsp:nvSpPr>
        <dsp:cNvPr id="0" name=""/>
        <dsp:cNvSpPr/>
      </dsp:nvSpPr>
      <dsp:spPr>
        <a:xfrm>
          <a:off x="5269831" y="1019487"/>
          <a:ext cx="361379" cy="176631"/>
        </a:xfrm>
        <a:custGeom>
          <a:avLst/>
          <a:gdLst/>
          <a:ahLst/>
          <a:cxnLst/>
          <a:rect l="0" t="0" r="0" b="0"/>
          <a:pathLst>
            <a:path>
              <a:moveTo>
                <a:pt x="361379" y="0"/>
              </a:moveTo>
              <a:lnTo>
                <a:pt x="361379" y="88315"/>
              </a:lnTo>
              <a:lnTo>
                <a:pt x="0" y="88315"/>
              </a:lnTo>
              <a:lnTo>
                <a:pt x="0"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30E744-2865-447F-9700-694E7867DAD2}">
      <dsp:nvSpPr>
        <dsp:cNvPr id="0" name=""/>
        <dsp:cNvSpPr/>
      </dsp:nvSpPr>
      <dsp:spPr>
        <a:xfrm>
          <a:off x="2216632" y="1616670"/>
          <a:ext cx="1017732" cy="176631"/>
        </a:xfrm>
        <a:custGeom>
          <a:avLst/>
          <a:gdLst/>
          <a:ahLst/>
          <a:cxnLst/>
          <a:rect l="0" t="0" r="0" b="0"/>
          <a:pathLst>
            <a:path>
              <a:moveTo>
                <a:pt x="0" y="0"/>
              </a:moveTo>
              <a:lnTo>
                <a:pt x="0" y="88315"/>
              </a:lnTo>
              <a:lnTo>
                <a:pt x="1017732" y="88315"/>
              </a:lnTo>
              <a:lnTo>
                <a:pt x="1017732"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D1E12E0-9EC4-420E-8447-34C8E5655286}">
      <dsp:nvSpPr>
        <dsp:cNvPr id="0" name=""/>
        <dsp:cNvSpPr/>
      </dsp:nvSpPr>
      <dsp:spPr>
        <a:xfrm>
          <a:off x="1896341" y="2238076"/>
          <a:ext cx="110016" cy="2154229"/>
        </a:xfrm>
        <a:custGeom>
          <a:avLst/>
          <a:gdLst/>
          <a:ahLst/>
          <a:cxnLst/>
          <a:rect l="0" t="0" r="0" b="0"/>
          <a:pathLst>
            <a:path>
              <a:moveTo>
                <a:pt x="0" y="0"/>
              </a:moveTo>
              <a:lnTo>
                <a:pt x="0" y="2154229"/>
              </a:lnTo>
              <a:lnTo>
                <a:pt x="110016" y="215422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F4C31F8-A271-48CF-BCCC-51BE3B598757}">
      <dsp:nvSpPr>
        <dsp:cNvPr id="0" name=""/>
        <dsp:cNvSpPr/>
      </dsp:nvSpPr>
      <dsp:spPr>
        <a:xfrm>
          <a:off x="1896341" y="2238076"/>
          <a:ext cx="111462" cy="1557047"/>
        </a:xfrm>
        <a:custGeom>
          <a:avLst/>
          <a:gdLst/>
          <a:ahLst/>
          <a:cxnLst/>
          <a:rect l="0" t="0" r="0" b="0"/>
          <a:pathLst>
            <a:path>
              <a:moveTo>
                <a:pt x="0" y="0"/>
              </a:moveTo>
              <a:lnTo>
                <a:pt x="0" y="1557047"/>
              </a:lnTo>
              <a:lnTo>
                <a:pt x="111462" y="155704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DA0F64-BC6C-4F68-806C-26BC35A22C08}">
      <dsp:nvSpPr>
        <dsp:cNvPr id="0" name=""/>
        <dsp:cNvSpPr/>
      </dsp:nvSpPr>
      <dsp:spPr>
        <a:xfrm>
          <a:off x="1896341" y="2238076"/>
          <a:ext cx="110016" cy="959865"/>
        </a:xfrm>
        <a:custGeom>
          <a:avLst/>
          <a:gdLst/>
          <a:ahLst/>
          <a:cxnLst/>
          <a:rect l="0" t="0" r="0" b="0"/>
          <a:pathLst>
            <a:path>
              <a:moveTo>
                <a:pt x="0" y="0"/>
              </a:moveTo>
              <a:lnTo>
                <a:pt x="0" y="959865"/>
              </a:lnTo>
              <a:lnTo>
                <a:pt x="110016" y="9598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AB3598-72BD-488E-B783-ED7130A6023F}">
      <dsp:nvSpPr>
        <dsp:cNvPr id="0" name=""/>
        <dsp:cNvSpPr/>
      </dsp:nvSpPr>
      <dsp:spPr>
        <a:xfrm>
          <a:off x="1896341" y="2238076"/>
          <a:ext cx="111462" cy="362683"/>
        </a:xfrm>
        <a:custGeom>
          <a:avLst/>
          <a:gdLst/>
          <a:ahLst/>
          <a:cxnLst/>
          <a:rect l="0" t="0" r="0" b="0"/>
          <a:pathLst>
            <a:path>
              <a:moveTo>
                <a:pt x="0" y="0"/>
              </a:moveTo>
              <a:lnTo>
                <a:pt x="0" y="362683"/>
              </a:lnTo>
              <a:lnTo>
                <a:pt x="111462" y="3626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43CFD97-6050-49EA-B621-13E31815401B}">
      <dsp:nvSpPr>
        <dsp:cNvPr id="0" name=""/>
        <dsp:cNvSpPr/>
      </dsp:nvSpPr>
      <dsp:spPr>
        <a:xfrm>
          <a:off x="2170912" y="1616670"/>
          <a:ext cx="91440" cy="200855"/>
        </a:xfrm>
        <a:custGeom>
          <a:avLst/>
          <a:gdLst/>
          <a:ahLst/>
          <a:cxnLst/>
          <a:rect l="0" t="0" r="0" b="0"/>
          <a:pathLst>
            <a:path>
              <a:moveTo>
                <a:pt x="45720" y="0"/>
              </a:moveTo>
              <a:lnTo>
                <a:pt x="45720" y="112539"/>
              </a:lnTo>
              <a:lnTo>
                <a:pt x="61869" y="112539"/>
              </a:lnTo>
              <a:lnTo>
                <a:pt x="61869" y="20085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73B73B-8152-4B3B-B8D1-8B79DD44CD90}">
      <dsp:nvSpPr>
        <dsp:cNvPr id="0" name=""/>
        <dsp:cNvSpPr/>
      </dsp:nvSpPr>
      <dsp:spPr>
        <a:xfrm>
          <a:off x="878608" y="2238076"/>
          <a:ext cx="110016" cy="2154229"/>
        </a:xfrm>
        <a:custGeom>
          <a:avLst/>
          <a:gdLst/>
          <a:ahLst/>
          <a:cxnLst/>
          <a:rect l="0" t="0" r="0" b="0"/>
          <a:pathLst>
            <a:path>
              <a:moveTo>
                <a:pt x="0" y="0"/>
              </a:moveTo>
              <a:lnTo>
                <a:pt x="0" y="2154229"/>
              </a:lnTo>
              <a:lnTo>
                <a:pt x="110016" y="215422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BD35A4-B0E3-4085-9410-A46734042A6B}">
      <dsp:nvSpPr>
        <dsp:cNvPr id="0" name=""/>
        <dsp:cNvSpPr/>
      </dsp:nvSpPr>
      <dsp:spPr>
        <a:xfrm>
          <a:off x="878608" y="2238076"/>
          <a:ext cx="111462" cy="1557047"/>
        </a:xfrm>
        <a:custGeom>
          <a:avLst/>
          <a:gdLst/>
          <a:ahLst/>
          <a:cxnLst/>
          <a:rect l="0" t="0" r="0" b="0"/>
          <a:pathLst>
            <a:path>
              <a:moveTo>
                <a:pt x="0" y="0"/>
              </a:moveTo>
              <a:lnTo>
                <a:pt x="0" y="1557047"/>
              </a:lnTo>
              <a:lnTo>
                <a:pt x="111462" y="155704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5FA96D6-E130-46C9-A75C-1D864AAA16EB}">
      <dsp:nvSpPr>
        <dsp:cNvPr id="0" name=""/>
        <dsp:cNvSpPr/>
      </dsp:nvSpPr>
      <dsp:spPr>
        <a:xfrm>
          <a:off x="878608" y="2238076"/>
          <a:ext cx="110016" cy="959865"/>
        </a:xfrm>
        <a:custGeom>
          <a:avLst/>
          <a:gdLst/>
          <a:ahLst/>
          <a:cxnLst/>
          <a:rect l="0" t="0" r="0" b="0"/>
          <a:pathLst>
            <a:path>
              <a:moveTo>
                <a:pt x="0" y="0"/>
              </a:moveTo>
              <a:lnTo>
                <a:pt x="0" y="959865"/>
              </a:lnTo>
              <a:lnTo>
                <a:pt x="110016" y="95986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C30AD0-1BF1-49DE-BBBF-050125F44676}">
      <dsp:nvSpPr>
        <dsp:cNvPr id="0" name=""/>
        <dsp:cNvSpPr/>
      </dsp:nvSpPr>
      <dsp:spPr>
        <a:xfrm>
          <a:off x="878608" y="2238076"/>
          <a:ext cx="111462" cy="362683"/>
        </a:xfrm>
        <a:custGeom>
          <a:avLst/>
          <a:gdLst/>
          <a:ahLst/>
          <a:cxnLst/>
          <a:rect l="0" t="0" r="0" b="0"/>
          <a:pathLst>
            <a:path>
              <a:moveTo>
                <a:pt x="0" y="0"/>
              </a:moveTo>
              <a:lnTo>
                <a:pt x="0" y="362683"/>
              </a:lnTo>
              <a:lnTo>
                <a:pt x="111462" y="36268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04B59F1-0AC2-4C67-9B95-FBF8C2AEAE1B}">
      <dsp:nvSpPr>
        <dsp:cNvPr id="0" name=""/>
        <dsp:cNvSpPr/>
      </dsp:nvSpPr>
      <dsp:spPr>
        <a:xfrm>
          <a:off x="1215048" y="1616670"/>
          <a:ext cx="1001583" cy="200855"/>
        </a:xfrm>
        <a:custGeom>
          <a:avLst/>
          <a:gdLst/>
          <a:ahLst/>
          <a:cxnLst/>
          <a:rect l="0" t="0" r="0" b="0"/>
          <a:pathLst>
            <a:path>
              <a:moveTo>
                <a:pt x="1001583" y="0"/>
              </a:moveTo>
              <a:lnTo>
                <a:pt x="1001583" y="112539"/>
              </a:lnTo>
              <a:lnTo>
                <a:pt x="0" y="112539"/>
              </a:lnTo>
              <a:lnTo>
                <a:pt x="0" y="200855"/>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ED9990-A0CC-4608-9427-1ECE9162B7E7}">
      <dsp:nvSpPr>
        <dsp:cNvPr id="0" name=""/>
        <dsp:cNvSpPr/>
      </dsp:nvSpPr>
      <dsp:spPr>
        <a:xfrm>
          <a:off x="2216632" y="1019487"/>
          <a:ext cx="3414578" cy="176631"/>
        </a:xfrm>
        <a:custGeom>
          <a:avLst/>
          <a:gdLst/>
          <a:ahLst/>
          <a:cxnLst/>
          <a:rect l="0" t="0" r="0" b="0"/>
          <a:pathLst>
            <a:path>
              <a:moveTo>
                <a:pt x="3414578" y="0"/>
              </a:moveTo>
              <a:lnTo>
                <a:pt x="3414578" y="88315"/>
              </a:lnTo>
              <a:lnTo>
                <a:pt x="0" y="88315"/>
              </a:lnTo>
              <a:lnTo>
                <a:pt x="0" y="176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745C3C-8409-4F96-ACA1-A05ED7E3E9BC}">
      <dsp:nvSpPr>
        <dsp:cNvPr id="0" name=""/>
        <dsp:cNvSpPr/>
      </dsp:nvSpPr>
      <dsp:spPr>
        <a:xfrm>
          <a:off x="5585490" y="432134"/>
          <a:ext cx="91440" cy="166803"/>
        </a:xfrm>
        <a:custGeom>
          <a:avLst/>
          <a:gdLst/>
          <a:ahLst/>
          <a:cxnLst/>
          <a:rect l="0" t="0" r="0" b="0"/>
          <a:pathLst>
            <a:path>
              <a:moveTo>
                <a:pt x="49589" y="0"/>
              </a:moveTo>
              <a:lnTo>
                <a:pt x="49589" y="78487"/>
              </a:lnTo>
              <a:lnTo>
                <a:pt x="45720" y="78487"/>
              </a:lnTo>
              <a:lnTo>
                <a:pt x="45720" y="166803"/>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8EFBAE-F24D-4607-8056-41FD753C7A0D}">
      <dsp:nvSpPr>
        <dsp:cNvPr id="0" name=""/>
        <dsp:cNvSpPr/>
      </dsp:nvSpPr>
      <dsp:spPr>
        <a:xfrm>
          <a:off x="5214529" y="11583"/>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hief Education Officer</a:t>
          </a:r>
        </a:p>
      </dsp:txBody>
      <dsp:txXfrm>
        <a:off x="5214529" y="11583"/>
        <a:ext cx="841101" cy="420550"/>
      </dsp:txXfrm>
    </dsp:sp>
    <dsp:sp modelId="{5C13A3CF-5101-4405-863A-A3E2CCBB22AB}">
      <dsp:nvSpPr>
        <dsp:cNvPr id="0" name=""/>
        <dsp:cNvSpPr/>
      </dsp:nvSpPr>
      <dsp:spPr>
        <a:xfrm>
          <a:off x="5210659" y="598937"/>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Director of Special Education</a:t>
          </a:r>
        </a:p>
      </dsp:txBody>
      <dsp:txXfrm>
        <a:off x="5210659" y="598937"/>
        <a:ext cx="841101" cy="420550"/>
      </dsp:txXfrm>
    </dsp:sp>
    <dsp:sp modelId="{8CC729E0-048C-4A38-B2A1-88086D3534AD}">
      <dsp:nvSpPr>
        <dsp:cNvPr id="0" name=""/>
        <dsp:cNvSpPr/>
      </dsp:nvSpPr>
      <dsp:spPr>
        <a:xfrm>
          <a:off x="1796081" y="1196119"/>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Clinical Services</a:t>
          </a:r>
        </a:p>
      </dsp:txBody>
      <dsp:txXfrm>
        <a:off x="1796081" y="1196119"/>
        <a:ext cx="841101" cy="420550"/>
      </dsp:txXfrm>
    </dsp:sp>
    <dsp:sp modelId="{BD892431-E279-4FAF-BD13-E4A4FBEEACAC}">
      <dsp:nvSpPr>
        <dsp:cNvPr id="0" name=""/>
        <dsp:cNvSpPr/>
      </dsp:nvSpPr>
      <dsp:spPr>
        <a:xfrm>
          <a:off x="794497" y="1817525"/>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inical Lead </a:t>
          </a:r>
        </a:p>
      </dsp:txBody>
      <dsp:txXfrm>
        <a:off x="794497" y="1817525"/>
        <a:ext cx="841101" cy="420550"/>
      </dsp:txXfrm>
    </dsp:sp>
    <dsp:sp modelId="{BB9456C3-1730-4153-BAC1-76A7B7DE168E}">
      <dsp:nvSpPr>
        <dsp:cNvPr id="0" name=""/>
        <dsp:cNvSpPr/>
      </dsp:nvSpPr>
      <dsp:spPr>
        <a:xfrm>
          <a:off x="990070" y="2390483"/>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BCBA</a:t>
          </a:r>
        </a:p>
      </dsp:txBody>
      <dsp:txXfrm>
        <a:off x="990070" y="2390483"/>
        <a:ext cx="841101" cy="420550"/>
      </dsp:txXfrm>
    </dsp:sp>
    <dsp:sp modelId="{D133B60E-B11D-41E6-983D-AFA56DD8A857}">
      <dsp:nvSpPr>
        <dsp:cNvPr id="0" name=""/>
        <dsp:cNvSpPr/>
      </dsp:nvSpPr>
      <dsp:spPr>
        <a:xfrm>
          <a:off x="988624" y="2987665"/>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OT</a:t>
          </a:r>
        </a:p>
      </dsp:txBody>
      <dsp:txXfrm>
        <a:off x="988624" y="2987665"/>
        <a:ext cx="841101" cy="420550"/>
      </dsp:txXfrm>
    </dsp:sp>
    <dsp:sp modelId="{6D9C4384-C201-400C-9F66-F43E8A6B3EBC}">
      <dsp:nvSpPr>
        <dsp:cNvPr id="0" name=""/>
        <dsp:cNvSpPr/>
      </dsp:nvSpPr>
      <dsp:spPr>
        <a:xfrm>
          <a:off x="990070" y="3584848"/>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SLP/A</a:t>
          </a:r>
        </a:p>
      </dsp:txBody>
      <dsp:txXfrm>
        <a:off x="990070" y="3584848"/>
        <a:ext cx="841101" cy="420550"/>
      </dsp:txXfrm>
    </dsp:sp>
    <dsp:sp modelId="{E5A8D694-AD1C-4826-86E7-9D6DCB9E1BCF}">
      <dsp:nvSpPr>
        <dsp:cNvPr id="0" name=""/>
        <dsp:cNvSpPr/>
      </dsp:nvSpPr>
      <dsp:spPr>
        <a:xfrm>
          <a:off x="988624" y="4182030"/>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Counselor</a:t>
          </a:r>
        </a:p>
      </dsp:txBody>
      <dsp:txXfrm>
        <a:off x="988624" y="4182030"/>
        <a:ext cx="841101" cy="420550"/>
      </dsp:txXfrm>
    </dsp:sp>
    <dsp:sp modelId="{E5C5F92F-6F25-462F-AF8F-6112574BA167}">
      <dsp:nvSpPr>
        <dsp:cNvPr id="0" name=""/>
        <dsp:cNvSpPr/>
      </dsp:nvSpPr>
      <dsp:spPr>
        <a:xfrm>
          <a:off x="1812230" y="1817525"/>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inical Lead</a:t>
          </a:r>
        </a:p>
      </dsp:txBody>
      <dsp:txXfrm>
        <a:off x="1812230" y="1817525"/>
        <a:ext cx="841101" cy="420550"/>
      </dsp:txXfrm>
    </dsp:sp>
    <dsp:sp modelId="{9BF330ED-773F-45AE-BFF2-2A9E6324428E}">
      <dsp:nvSpPr>
        <dsp:cNvPr id="0" name=""/>
        <dsp:cNvSpPr/>
      </dsp:nvSpPr>
      <dsp:spPr>
        <a:xfrm>
          <a:off x="2007803" y="2390483"/>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BCBA</a:t>
          </a:r>
        </a:p>
      </dsp:txBody>
      <dsp:txXfrm>
        <a:off x="2007803" y="2390483"/>
        <a:ext cx="841101" cy="420550"/>
      </dsp:txXfrm>
    </dsp:sp>
    <dsp:sp modelId="{1C363F96-B440-42B6-A547-56600F95A979}">
      <dsp:nvSpPr>
        <dsp:cNvPr id="0" name=""/>
        <dsp:cNvSpPr/>
      </dsp:nvSpPr>
      <dsp:spPr>
        <a:xfrm>
          <a:off x="2006357" y="2987665"/>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OT</a:t>
          </a:r>
        </a:p>
      </dsp:txBody>
      <dsp:txXfrm>
        <a:off x="2006357" y="2987665"/>
        <a:ext cx="841101" cy="420550"/>
      </dsp:txXfrm>
    </dsp:sp>
    <dsp:sp modelId="{50F93FED-FAD8-4246-8380-95E5FD1CAFCF}">
      <dsp:nvSpPr>
        <dsp:cNvPr id="0" name=""/>
        <dsp:cNvSpPr/>
      </dsp:nvSpPr>
      <dsp:spPr>
        <a:xfrm>
          <a:off x="2007803" y="3584848"/>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SLP/A</a:t>
          </a:r>
        </a:p>
      </dsp:txBody>
      <dsp:txXfrm>
        <a:off x="2007803" y="3584848"/>
        <a:ext cx="841101" cy="420550"/>
      </dsp:txXfrm>
    </dsp:sp>
    <dsp:sp modelId="{901B3078-2251-40B5-B048-64F4648E7EA1}">
      <dsp:nvSpPr>
        <dsp:cNvPr id="0" name=""/>
        <dsp:cNvSpPr/>
      </dsp:nvSpPr>
      <dsp:spPr>
        <a:xfrm>
          <a:off x="2006357" y="4182030"/>
          <a:ext cx="841101" cy="420550"/>
        </a:xfrm>
        <a:prstGeom prst="rect">
          <a:avLst/>
        </a:prstGeom>
        <a:solidFill>
          <a:schemeClr val="accent4">
            <a:lumMod val="20000"/>
            <a:lumOff val="8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solidFill>
                <a:schemeClr val="accent1"/>
              </a:solidFill>
            </a:rPr>
            <a:t>Counselor</a:t>
          </a:r>
        </a:p>
      </dsp:txBody>
      <dsp:txXfrm>
        <a:off x="2006357" y="4182030"/>
        <a:ext cx="841101" cy="420550"/>
      </dsp:txXfrm>
    </dsp:sp>
    <dsp:sp modelId="{2B9A1528-98E5-4569-A97E-BFDD511ED2EE}">
      <dsp:nvSpPr>
        <dsp:cNvPr id="0" name=""/>
        <dsp:cNvSpPr/>
      </dsp:nvSpPr>
      <dsp:spPr>
        <a:xfrm>
          <a:off x="2813814"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ontracted </a:t>
          </a:r>
        </a:p>
        <a:p>
          <a:pPr marL="0" lvl="0" indent="0" algn="ctr" defTabSz="311150">
            <a:lnSpc>
              <a:spcPct val="90000"/>
            </a:lnSpc>
            <a:spcBef>
              <a:spcPct val="0"/>
            </a:spcBef>
            <a:spcAft>
              <a:spcPct val="35000"/>
            </a:spcAft>
            <a:buNone/>
          </a:pPr>
          <a:r>
            <a:rPr lang="en-US" sz="700" kern="1200" dirty="0"/>
            <a:t>Services</a:t>
          </a:r>
        </a:p>
      </dsp:txBody>
      <dsp:txXfrm>
        <a:off x="2813814" y="1793301"/>
        <a:ext cx="841101" cy="420550"/>
      </dsp:txXfrm>
    </dsp:sp>
    <dsp:sp modelId="{DFCAFEF8-DFFB-41E8-9B88-89EE67A118E4}">
      <dsp:nvSpPr>
        <dsp:cNvPr id="0" name=""/>
        <dsp:cNvSpPr/>
      </dsp:nvSpPr>
      <dsp:spPr>
        <a:xfrm>
          <a:off x="4849280" y="1196119"/>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Educational Operations</a:t>
          </a:r>
        </a:p>
      </dsp:txBody>
      <dsp:txXfrm>
        <a:off x="4849280" y="1196119"/>
        <a:ext cx="841101" cy="420550"/>
      </dsp:txXfrm>
    </dsp:sp>
    <dsp:sp modelId="{B94123BB-5C69-4716-9BD0-9FEA21E7532F}">
      <dsp:nvSpPr>
        <dsp:cNvPr id="0" name=""/>
        <dsp:cNvSpPr/>
      </dsp:nvSpPr>
      <dsp:spPr>
        <a:xfrm>
          <a:off x="3831547"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Manager of APE</a:t>
          </a:r>
        </a:p>
      </dsp:txBody>
      <dsp:txXfrm>
        <a:off x="3831547" y="1793301"/>
        <a:ext cx="841101" cy="420550"/>
      </dsp:txXfrm>
    </dsp:sp>
    <dsp:sp modelId="{880978F7-F988-4489-B57D-9BE0F4E9EEAC}">
      <dsp:nvSpPr>
        <dsp:cNvPr id="0" name=""/>
        <dsp:cNvSpPr/>
      </dsp:nvSpPr>
      <dsp:spPr>
        <a:xfrm>
          <a:off x="4041823" y="2390483"/>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PE Teachers</a:t>
          </a:r>
        </a:p>
      </dsp:txBody>
      <dsp:txXfrm>
        <a:off x="4041823" y="2390483"/>
        <a:ext cx="841101" cy="420550"/>
      </dsp:txXfrm>
    </dsp:sp>
    <dsp:sp modelId="{B1021DFA-FA95-459D-BF01-9F752CEA2459}">
      <dsp:nvSpPr>
        <dsp:cNvPr id="0" name=""/>
        <dsp:cNvSpPr/>
      </dsp:nvSpPr>
      <dsp:spPr>
        <a:xfrm>
          <a:off x="4041823" y="2987665"/>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Rec Therapists</a:t>
          </a:r>
        </a:p>
        <a:p>
          <a:pPr marL="0" lvl="0" indent="0" algn="ctr" defTabSz="311150">
            <a:lnSpc>
              <a:spcPct val="90000"/>
            </a:lnSpc>
            <a:spcBef>
              <a:spcPct val="0"/>
            </a:spcBef>
            <a:spcAft>
              <a:spcPct val="35000"/>
            </a:spcAft>
            <a:buNone/>
          </a:pPr>
          <a:r>
            <a:rPr lang="en-US" sz="700" kern="1200" dirty="0"/>
            <a:t>Rec Assistants</a:t>
          </a:r>
        </a:p>
      </dsp:txBody>
      <dsp:txXfrm>
        <a:off x="4041823" y="2987665"/>
        <a:ext cx="841101" cy="420550"/>
      </dsp:txXfrm>
    </dsp:sp>
    <dsp:sp modelId="{411B939B-CA8D-42F2-9237-884A761B99C7}">
      <dsp:nvSpPr>
        <dsp:cNvPr id="0" name=""/>
        <dsp:cNvSpPr/>
      </dsp:nvSpPr>
      <dsp:spPr>
        <a:xfrm>
          <a:off x="4041823" y="3584848"/>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fterschool Program</a:t>
          </a:r>
        </a:p>
      </dsp:txBody>
      <dsp:txXfrm>
        <a:off x="4041823" y="3584848"/>
        <a:ext cx="841101" cy="420550"/>
      </dsp:txXfrm>
    </dsp:sp>
    <dsp:sp modelId="{E060FA0A-299D-41EB-81B2-4FB6923B8E59}">
      <dsp:nvSpPr>
        <dsp:cNvPr id="0" name=""/>
        <dsp:cNvSpPr/>
      </dsp:nvSpPr>
      <dsp:spPr>
        <a:xfrm>
          <a:off x="4849280"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Manager of Vocational Services</a:t>
          </a:r>
        </a:p>
      </dsp:txBody>
      <dsp:txXfrm>
        <a:off x="4849280" y="1793301"/>
        <a:ext cx="841101" cy="420550"/>
      </dsp:txXfrm>
    </dsp:sp>
    <dsp:sp modelId="{707E384A-0166-40E8-BC09-51D21E629430}">
      <dsp:nvSpPr>
        <dsp:cNvPr id="0" name=""/>
        <dsp:cNvSpPr/>
      </dsp:nvSpPr>
      <dsp:spPr>
        <a:xfrm>
          <a:off x="5059556" y="2390483"/>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Vocational Teacher</a:t>
          </a:r>
        </a:p>
      </dsp:txBody>
      <dsp:txXfrm>
        <a:off x="5059556" y="2390483"/>
        <a:ext cx="841101" cy="420550"/>
      </dsp:txXfrm>
    </dsp:sp>
    <dsp:sp modelId="{FDC9A1DD-925E-4747-B1B2-180007BFD7FC}">
      <dsp:nvSpPr>
        <dsp:cNvPr id="0" name=""/>
        <dsp:cNvSpPr/>
      </dsp:nvSpPr>
      <dsp:spPr>
        <a:xfrm>
          <a:off x="5059556" y="2987665"/>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Job Coaches</a:t>
          </a:r>
        </a:p>
      </dsp:txBody>
      <dsp:txXfrm>
        <a:off x="5059556" y="2987665"/>
        <a:ext cx="841101" cy="420550"/>
      </dsp:txXfrm>
    </dsp:sp>
    <dsp:sp modelId="{86776B51-7633-47EF-9436-8E84E12EAB15}">
      <dsp:nvSpPr>
        <dsp:cNvPr id="0" name=""/>
        <dsp:cNvSpPr/>
      </dsp:nvSpPr>
      <dsp:spPr>
        <a:xfrm>
          <a:off x="5059556" y="3584848"/>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Internal/External Job Sites</a:t>
          </a:r>
        </a:p>
      </dsp:txBody>
      <dsp:txXfrm>
        <a:off x="5059556" y="3584848"/>
        <a:ext cx="841101" cy="420550"/>
      </dsp:txXfrm>
    </dsp:sp>
    <dsp:sp modelId="{4A10340A-ECB6-40C6-9EA3-D4E95677B291}">
      <dsp:nvSpPr>
        <dsp:cNvPr id="0" name=""/>
        <dsp:cNvSpPr/>
      </dsp:nvSpPr>
      <dsp:spPr>
        <a:xfrm>
          <a:off x="5867013"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Lead TA</a:t>
          </a:r>
        </a:p>
      </dsp:txBody>
      <dsp:txXfrm>
        <a:off x="5867013" y="1793301"/>
        <a:ext cx="841101" cy="420550"/>
      </dsp:txXfrm>
    </dsp:sp>
    <dsp:sp modelId="{C51BF866-E3D8-4FC4-B274-A6EE0B240849}">
      <dsp:nvSpPr>
        <dsp:cNvPr id="0" name=""/>
        <dsp:cNvSpPr/>
      </dsp:nvSpPr>
      <dsp:spPr>
        <a:xfrm>
          <a:off x="6674471" y="1196119"/>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Education </a:t>
          </a:r>
        </a:p>
        <a:p>
          <a:pPr marL="0" lvl="0" indent="0" algn="ctr" defTabSz="311150">
            <a:lnSpc>
              <a:spcPct val="90000"/>
            </a:lnSpc>
            <a:spcBef>
              <a:spcPct val="0"/>
            </a:spcBef>
            <a:spcAft>
              <a:spcPct val="35000"/>
            </a:spcAft>
            <a:buNone/>
          </a:pPr>
          <a:r>
            <a:rPr lang="en-US" sz="700" kern="1200" dirty="0"/>
            <a:t>Cohort A</a:t>
          </a:r>
        </a:p>
      </dsp:txBody>
      <dsp:txXfrm>
        <a:off x="6674471" y="1196119"/>
        <a:ext cx="841101" cy="420550"/>
      </dsp:txXfrm>
    </dsp:sp>
    <dsp:sp modelId="{BEE4DAED-CBD4-4693-A8F1-DAE1E58BFF08}">
      <dsp:nvSpPr>
        <dsp:cNvPr id="0" name=""/>
        <dsp:cNvSpPr/>
      </dsp:nvSpPr>
      <dsp:spPr>
        <a:xfrm>
          <a:off x="6884746"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assroom Teachers</a:t>
          </a:r>
        </a:p>
      </dsp:txBody>
      <dsp:txXfrm>
        <a:off x="6884746" y="1793301"/>
        <a:ext cx="841101" cy="420550"/>
      </dsp:txXfrm>
    </dsp:sp>
    <dsp:sp modelId="{06DD17CA-236E-4859-BB61-E237B20DA056}">
      <dsp:nvSpPr>
        <dsp:cNvPr id="0" name=""/>
        <dsp:cNvSpPr/>
      </dsp:nvSpPr>
      <dsp:spPr>
        <a:xfrm>
          <a:off x="7692204" y="1196119"/>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Education</a:t>
          </a:r>
        </a:p>
        <a:p>
          <a:pPr marL="0" lvl="0" indent="0" algn="ctr" defTabSz="311150">
            <a:lnSpc>
              <a:spcPct val="90000"/>
            </a:lnSpc>
            <a:spcBef>
              <a:spcPct val="0"/>
            </a:spcBef>
            <a:spcAft>
              <a:spcPct val="35000"/>
            </a:spcAft>
            <a:buNone/>
          </a:pPr>
          <a:r>
            <a:rPr lang="en-US" sz="700" kern="1200" dirty="0"/>
            <a:t>Cohort B</a:t>
          </a:r>
        </a:p>
      </dsp:txBody>
      <dsp:txXfrm>
        <a:off x="7692204" y="1196119"/>
        <a:ext cx="841101" cy="420550"/>
      </dsp:txXfrm>
    </dsp:sp>
    <dsp:sp modelId="{79D8400B-1F2F-4117-B29C-3D91FB785401}">
      <dsp:nvSpPr>
        <dsp:cNvPr id="0" name=""/>
        <dsp:cNvSpPr/>
      </dsp:nvSpPr>
      <dsp:spPr>
        <a:xfrm>
          <a:off x="7902479"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assroom Teachers</a:t>
          </a:r>
        </a:p>
      </dsp:txBody>
      <dsp:txXfrm>
        <a:off x="7902479" y="1793301"/>
        <a:ext cx="841101" cy="420550"/>
      </dsp:txXfrm>
    </dsp:sp>
    <dsp:sp modelId="{CF8F5B03-8EF0-4769-901F-CF9CC4C40B03}">
      <dsp:nvSpPr>
        <dsp:cNvPr id="0" name=""/>
        <dsp:cNvSpPr/>
      </dsp:nvSpPr>
      <dsp:spPr>
        <a:xfrm>
          <a:off x="8709937" y="1196119"/>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Associate Director of Education</a:t>
          </a:r>
        </a:p>
        <a:p>
          <a:pPr marL="0" lvl="0" indent="0" algn="ctr" defTabSz="311150">
            <a:lnSpc>
              <a:spcPct val="90000"/>
            </a:lnSpc>
            <a:spcBef>
              <a:spcPct val="0"/>
            </a:spcBef>
            <a:spcAft>
              <a:spcPct val="35000"/>
            </a:spcAft>
            <a:buNone/>
          </a:pPr>
          <a:r>
            <a:rPr lang="en-US" sz="700" kern="1200" dirty="0"/>
            <a:t>Cohort C</a:t>
          </a:r>
        </a:p>
      </dsp:txBody>
      <dsp:txXfrm>
        <a:off x="8709937" y="1196119"/>
        <a:ext cx="841101" cy="420550"/>
      </dsp:txXfrm>
    </dsp:sp>
    <dsp:sp modelId="{40DEABB1-37CA-4056-AEA9-636FE8B18E08}">
      <dsp:nvSpPr>
        <dsp:cNvPr id="0" name=""/>
        <dsp:cNvSpPr/>
      </dsp:nvSpPr>
      <dsp:spPr>
        <a:xfrm>
          <a:off x="8920212" y="1793301"/>
          <a:ext cx="841101" cy="4205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en-US" sz="700" kern="1200" dirty="0"/>
            <a:t>Classroom Teachers </a:t>
          </a:r>
        </a:p>
      </dsp:txBody>
      <dsp:txXfrm>
        <a:off x="8920212" y="1793301"/>
        <a:ext cx="841101" cy="4205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0C5CC7-6D94-4E15-BE87-543DF72E962E}">
      <dsp:nvSpPr>
        <dsp:cNvPr id="0" name=""/>
        <dsp:cNvSpPr/>
      </dsp:nvSpPr>
      <dsp:spPr>
        <a:xfrm>
          <a:off x="5850016" y="1303570"/>
          <a:ext cx="161279" cy="2021370"/>
        </a:xfrm>
        <a:custGeom>
          <a:avLst/>
          <a:gdLst/>
          <a:ahLst/>
          <a:cxnLst/>
          <a:rect l="0" t="0" r="0" b="0"/>
          <a:pathLst>
            <a:path>
              <a:moveTo>
                <a:pt x="0" y="0"/>
              </a:moveTo>
              <a:lnTo>
                <a:pt x="0" y="2021370"/>
              </a:lnTo>
              <a:lnTo>
                <a:pt x="161279" y="202137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299CFC-01ED-4178-8D3D-BE883B5D81B8}">
      <dsp:nvSpPr>
        <dsp:cNvPr id="0" name=""/>
        <dsp:cNvSpPr/>
      </dsp:nvSpPr>
      <dsp:spPr>
        <a:xfrm>
          <a:off x="5850016" y="1303570"/>
          <a:ext cx="161279" cy="1257980"/>
        </a:xfrm>
        <a:custGeom>
          <a:avLst/>
          <a:gdLst/>
          <a:ahLst/>
          <a:cxnLst/>
          <a:rect l="0" t="0" r="0" b="0"/>
          <a:pathLst>
            <a:path>
              <a:moveTo>
                <a:pt x="0" y="0"/>
              </a:moveTo>
              <a:lnTo>
                <a:pt x="0" y="1257980"/>
              </a:lnTo>
              <a:lnTo>
                <a:pt x="161279" y="125798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15A7B43-A318-496C-8475-CFF3EADB6F05}">
      <dsp:nvSpPr>
        <dsp:cNvPr id="0" name=""/>
        <dsp:cNvSpPr/>
      </dsp:nvSpPr>
      <dsp:spPr>
        <a:xfrm>
          <a:off x="5850016" y="1303570"/>
          <a:ext cx="161279" cy="494590"/>
        </a:xfrm>
        <a:custGeom>
          <a:avLst/>
          <a:gdLst/>
          <a:ahLst/>
          <a:cxnLst/>
          <a:rect l="0" t="0" r="0" b="0"/>
          <a:pathLst>
            <a:path>
              <a:moveTo>
                <a:pt x="0" y="0"/>
              </a:moveTo>
              <a:lnTo>
                <a:pt x="0" y="494590"/>
              </a:lnTo>
              <a:lnTo>
                <a:pt x="161279" y="49459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E8DC7C-1F0E-4980-B3C6-D52E49DA0800}">
      <dsp:nvSpPr>
        <dsp:cNvPr id="0" name=""/>
        <dsp:cNvSpPr/>
      </dsp:nvSpPr>
      <dsp:spPr>
        <a:xfrm>
          <a:off x="4979106" y="540180"/>
          <a:ext cx="1300988" cy="225791"/>
        </a:xfrm>
        <a:custGeom>
          <a:avLst/>
          <a:gdLst/>
          <a:ahLst/>
          <a:cxnLst/>
          <a:rect l="0" t="0" r="0" b="0"/>
          <a:pathLst>
            <a:path>
              <a:moveTo>
                <a:pt x="0" y="0"/>
              </a:moveTo>
              <a:lnTo>
                <a:pt x="0" y="112895"/>
              </a:lnTo>
              <a:lnTo>
                <a:pt x="1300988" y="112895"/>
              </a:lnTo>
              <a:lnTo>
                <a:pt x="1300988" y="2257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D8D8AB-B9F1-4062-92FE-A97D77C80A18}">
      <dsp:nvSpPr>
        <dsp:cNvPr id="0" name=""/>
        <dsp:cNvSpPr/>
      </dsp:nvSpPr>
      <dsp:spPr>
        <a:xfrm>
          <a:off x="4549028" y="1303570"/>
          <a:ext cx="161279" cy="2021370"/>
        </a:xfrm>
        <a:custGeom>
          <a:avLst/>
          <a:gdLst/>
          <a:ahLst/>
          <a:cxnLst/>
          <a:rect l="0" t="0" r="0" b="0"/>
          <a:pathLst>
            <a:path>
              <a:moveTo>
                <a:pt x="0" y="0"/>
              </a:moveTo>
              <a:lnTo>
                <a:pt x="0" y="2021370"/>
              </a:lnTo>
              <a:lnTo>
                <a:pt x="161279" y="202137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ED1B24-F915-4606-B262-59B0B2939BFA}">
      <dsp:nvSpPr>
        <dsp:cNvPr id="0" name=""/>
        <dsp:cNvSpPr/>
      </dsp:nvSpPr>
      <dsp:spPr>
        <a:xfrm>
          <a:off x="4549028" y="1303570"/>
          <a:ext cx="161279" cy="1257980"/>
        </a:xfrm>
        <a:custGeom>
          <a:avLst/>
          <a:gdLst/>
          <a:ahLst/>
          <a:cxnLst/>
          <a:rect l="0" t="0" r="0" b="0"/>
          <a:pathLst>
            <a:path>
              <a:moveTo>
                <a:pt x="0" y="0"/>
              </a:moveTo>
              <a:lnTo>
                <a:pt x="0" y="1257980"/>
              </a:lnTo>
              <a:lnTo>
                <a:pt x="161279" y="125798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77A8F8-7579-48A3-A933-A51E9204BBBF}">
      <dsp:nvSpPr>
        <dsp:cNvPr id="0" name=""/>
        <dsp:cNvSpPr/>
      </dsp:nvSpPr>
      <dsp:spPr>
        <a:xfrm>
          <a:off x="4549028" y="1303570"/>
          <a:ext cx="161279" cy="494590"/>
        </a:xfrm>
        <a:custGeom>
          <a:avLst/>
          <a:gdLst/>
          <a:ahLst/>
          <a:cxnLst/>
          <a:rect l="0" t="0" r="0" b="0"/>
          <a:pathLst>
            <a:path>
              <a:moveTo>
                <a:pt x="0" y="0"/>
              </a:moveTo>
              <a:lnTo>
                <a:pt x="0" y="494590"/>
              </a:lnTo>
              <a:lnTo>
                <a:pt x="161279" y="49459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8AA546D-5E0D-4A6F-8078-B97747F42D48}">
      <dsp:nvSpPr>
        <dsp:cNvPr id="0" name=""/>
        <dsp:cNvSpPr/>
      </dsp:nvSpPr>
      <dsp:spPr>
        <a:xfrm>
          <a:off x="4933386" y="540180"/>
          <a:ext cx="91440" cy="225791"/>
        </a:xfrm>
        <a:custGeom>
          <a:avLst/>
          <a:gdLst/>
          <a:ahLst/>
          <a:cxnLst/>
          <a:rect l="0" t="0" r="0" b="0"/>
          <a:pathLst>
            <a:path>
              <a:moveTo>
                <a:pt x="45720" y="0"/>
              </a:moveTo>
              <a:lnTo>
                <a:pt x="45720" y="2257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FEFE4C9-9AD6-40A4-B4C9-9196F79245BF}">
      <dsp:nvSpPr>
        <dsp:cNvPr id="0" name=""/>
        <dsp:cNvSpPr/>
      </dsp:nvSpPr>
      <dsp:spPr>
        <a:xfrm>
          <a:off x="3632398" y="1303570"/>
          <a:ext cx="91440" cy="225791"/>
        </a:xfrm>
        <a:custGeom>
          <a:avLst/>
          <a:gdLst/>
          <a:ahLst/>
          <a:cxnLst/>
          <a:rect l="0" t="0" r="0" b="0"/>
          <a:pathLst>
            <a:path>
              <a:moveTo>
                <a:pt x="45720" y="0"/>
              </a:moveTo>
              <a:lnTo>
                <a:pt x="45720" y="22579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745C3C-8409-4F96-ACA1-A05ED7E3E9BC}">
      <dsp:nvSpPr>
        <dsp:cNvPr id="0" name=""/>
        <dsp:cNvSpPr/>
      </dsp:nvSpPr>
      <dsp:spPr>
        <a:xfrm>
          <a:off x="3678118" y="540180"/>
          <a:ext cx="1300988" cy="225791"/>
        </a:xfrm>
        <a:custGeom>
          <a:avLst/>
          <a:gdLst/>
          <a:ahLst/>
          <a:cxnLst/>
          <a:rect l="0" t="0" r="0" b="0"/>
          <a:pathLst>
            <a:path>
              <a:moveTo>
                <a:pt x="1300988" y="0"/>
              </a:moveTo>
              <a:lnTo>
                <a:pt x="1300988" y="112895"/>
              </a:lnTo>
              <a:lnTo>
                <a:pt x="0" y="112895"/>
              </a:lnTo>
              <a:lnTo>
                <a:pt x="0" y="2257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8EFBAE-F24D-4607-8056-41FD753C7A0D}">
      <dsp:nvSpPr>
        <dsp:cNvPr id="0" name=""/>
        <dsp:cNvSpPr/>
      </dsp:nvSpPr>
      <dsp:spPr>
        <a:xfrm>
          <a:off x="4441508" y="258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Chief Program Officer</a:t>
          </a:r>
        </a:p>
      </dsp:txBody>
      <dsp:txXfrm>
        <a:off x="4441508" y="2581"/>
        <a:ext cx="1075197" cy="537598"/>
      </dsp:txXfrm>
    </dsp:sp>
    <dsp:sp modelId="{5C13A3CF-5101-4405-863A-A3E2CCBB22AB}">
      <dsp:nvSpPr>
        <dsp:cNvPr id="0" name=""/>
        <dsp:cNvSpPr/>
      </dsp:nvSpPr>
      <dsp:spPr>
        <a:xfrm>
          <a:off x="3140519" y="76597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Director of Adult Clinical Services</a:t>
          </a:r>
        </a:p>
      </dsp:txBody>
      <dsp:txXfrm>
        <a:off x="3140519" y="765971"/>
        <a:ext cx="1075197" cy="537598"/>
      </dsp:txXfrm>
    </dsp:sp>
    <dsp:sp modelId="{B13567D1-1A72-4635-9F50-D4D4D0A3C081}">
      <dsp:nvSpPr>
        <dsp:cNvPr id="0" name=""/>
        <dsp:cNvSpPr/>
      </dsp:nvSpPr>
      <dsp:spPr>
        <a:xfrm>
          <a:off x="3140519" y="152936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Adult Program Clinicians (2)</a:t>
          </a:r>
        </a:p>
      </dsp:txBody>
      <dsp:txXfrm>
        <a:off x="3140519" y="1529361"/>
        <a:ext cx="1075197" cy="537598"/>
      </dsp:txXfrm>
    </dsp:sp>
    <dsp:sp modelId="{744ADE6F-30F7-4C01-ABA9-AEFD53A123DC}">
      <dsp:nvSpPr>
        <dsp:cNvPr id="0" name=""/>
        <dsp:cNvSpPr/>
      </dsp:nvSpPr>
      <dsp:spPr>
        <a:xfrm>
          <a:off x="4441508" y="76597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Director of Residential Services</a:t>
          </a:r>
        </a:p>
      </dsp:txBody>
      <dsp:txXfrm>
        <a:off x="4441508" y="765971"/>
        <a:ext cx="1075197" cy="537598"/>
      </dsp:txXfrm>
    </dsp:sp>
    <dsp:sp modelId="{68D90719-BFB4-4B52-B9BF-6E70BD813947}">
      <dsp:nvSpPr>
        <dsp:cNvPr id="0" name=""/>
        <dsp:cNvSpPr/>
      </dsp:nvSpPr>
      <dsp:spPr>
        <a:xfrm>
          <a:off x="4710307" y="152936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Associate Director of Residential Services</a:t>
          </a:r>
        </a:p>
        <a:p>
          <a:pPr marL="0" lvl="0" indent="0" algn="ctr" defTabSz="355600">
            <a:lnSpc>
              <a:spcPct val="90000"/>
            </a:lnSpc>
            <a:spcBef>
              <a:spcPct val="0"/>
            </a:spcBef>
            <a:spcAft>
              <a:spcPct val="35000"/>
            </a:spcAft>
            <a:buNone/>
          </a:pPr>
          <a:r>
            <a:rPr lang="en-US" sz="800" kern="1200" dirty="0"/>
            <a:t>(Cluster A)</a:t>
          </a:r>
        </a:p>
      </dsp:txBody>
      <dsp:txXfrm>
        <a:off x="4710307" y="1529361"/>
        <a:ext cx="1075197" cy="537598"/>
      </dsp:txXfrm>
    </dsp:sp>
    <dsp:sp modelId="{FB08DEE4-C7C4-44A5-9227-F47BDB64A25A}">
      <dsp:nvSpPr>
        <dsp:cNvPr id="0" name=""/>
        <dsp:cNvSpPr/>
      </dsp:nvSpPr>
      <dsp:spPr>
        <a:xfrm>
          <a:off x="4710307" y="229275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Associate Director of Residential Services (Cluster B)</a:t>
          </a:r>
        </a:p>
      </dsp:txBody>
      <dsp:txXfrm>
        <a:off x="4710307" y="2292751"/>
        <a:ext cx="1075197" cy="537598"/>
      </dsp:txXfrm>
    </dsp:sp>
    <dsp:sp modelId="{2FCECD56-4BDB-4128-95F0-332A725B829E}">
      <dsp:nvSpPr>
        <dsp:cNvPr id="0" name=""/>
        <dsp:cNvSpPr/>
      </dsp:nvSpPr>
      <dsp:spPr>
        <a:xfrm>
          <a:off x="4710307" y="305614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Associate Director of Residential Services (Cluster C)</a:t>
          </a:r>
        </a:p>
      </dsp:txBody>
      <dsp:txXfrm>
        <a:off x="4710307" y="3056141"/>
        <a:ext cx="1075197" cy="537598"/>
      </dsp:txXfrm>
    </dsp:sp>
    <dsp:sp modelId="{D61A2675-20E6-40D3-A112-258999E88E2F}">
      <dsp:nvSpPr>
        <dsp:cNvPr id="0" name=""/>
        <dsp:cNvSpPr/>
      </dsp:nvSpPr>
      <dsp:spPr>
        <a:xfrm>
          <a:off x="5742496" y="76597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Director of Health Services</a:t>
          </a:r>
        </a:p>
      </dsp:txBody>
      <dsp:txXfrm>
        <a:off x="5742496" y="765971"/>
        <a:ext cx="1075197" cy="537598"/>
      </dsp:txXfrm>
    </dsp:sp>
    <dsp:sp modelId="{7127DCFB-7662-40AF-9B14-B719B94AB4CA}">
      <dsp:nvSpPr>
        <dsp:cNvPr id="0" name=""/>
        <dsp:cNvSpPr/>
      </dsp:nvSpPr>
      <dsp:spPr>
        <a:xfrm>
          <a:off x="6011296" y="152936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Adult Health Services Team</a:t>
          </a:r>
        </a:p>
      </dsp:txBody>
      <dsp:txXfrm>
        <a:off x="6011296" y="1529361"/>
        <a:ext cx="1075197" cy="537598"/>
      </dsp:txXfrm>
    </dsp:sp>
    <dsp:sp modelId="{258E4475-E56F-42F4-B862-376E4CA687E4}">
      <dsp:nvSpPr>
        <dsp:cNvPr id="0" name=""/>
        <dsp:cNvSpPr/>
      </dsp:nvSpPr>
      <dsp:spPr>
        <a:xfrm>
          <a:off x="6011296" y="229275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Youth Health Services Team</a:t>
          </a:r>
        </a:p>
      </dsp:txBody>
      <dsp:txXfrm>
        <a:off x="6011296" y="2292751"/>
        <a:ext cx="1075197" cy="537598"/>
      </dsp:txXfrm>
    </dsp:sp>
    <dsp:sp modelId="{15F71370-6CCE-4D9A-BE5F-3225FEF90FC6}">
      <dsp:nvSpPr>
        <dsp:cNvPr id="0" name=""/>
        <dsp:cNvSpPr/>
      </dsp:nvSpPr>
      <dsp:spPr>
        <a:xfrm>
          <a:off x="6011296" y="3056141"/>
          <a:ext cx="1075197" cy="53759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en-US" sz="800" kern="1200" dirty="0"/>
            <a:t>Consulting MD’s</a:t>
          </a:r>
        </a:p>
      </dsp:txBody>
      <dsp:txXfrm>
        <a:off x="6011296" y="3056141"/>
        <a:ext cx="1075197" cy="537598"/>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C7510E6E-69AD-4BC5-86A2-0442B66EE76B}" type="datetimeFigureOut">
              <a:rPr lang="en-US" smtClean="0"/>
              <a:t>4/6/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CC198BAA-668A-4F9B-8189-C960952C6F57}" type="slidenum">
              <a:rPr lang="en-US" smtClean="0"/>
              <a:t>‹#›</a:t>
            </a:fld>
            <a:endParaRPr lang="en-US"/>
          </a:p>
        </p:txBody>
      </p:sp>
    </p:spTree>
    <p:extLst>
      <p:ext uri="{BB962C8B-B14F-4D97-AF65-F5344CB8AC3E}">
        <p14:creationId xmlns:p14="http://schemas.microsoft.com/office/powerpoint/2010/main" val="39266030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inical Advisor Group: Current Clinical Directors with contributing members: Todd, Anne, others in the future…</a:t>
            </a:r>
          </a:p>
          <a:p>
            <a:endParaRPr lang="en-US" dirty="0"/>
          </a:p>
          <a:p>
            <a:r>
              <a:rPr lang="en-US" dirty="0"/>
              <a:t>Programmatic management includes clinical disciplines (SLP, OT, Bx, MH) as well as </a:t>
            </a:r>
            <a:r>
              <a:rPr lang="en-US" dirty="0" err="1"/>
              <a:t>Voc</a:t>
            </a:r>
            <a:r>
              <a:rPr lang="en-US" dirty="0"/>
              <a:t> and APE</a:t>
            </a:r>
          </a:p>
          <a:p>
            <a:endParaRPr lang="en-US" dirty="0"/>
          </a:p>
          <a:p>
            <a:r>
              <a:rPr lang="en-US" b="1" i="1" dirty="0">
                <a:highlight>
                  <a:srgbClr val="FFFF00"/>
                </a:highlight>
              </a:rPr>
              <a:t>I didn’t put anything about changes to the DCF treatment planning process here or the shifts in student services.  You could add it if it feels relevant?</a:t>
            </a:r>
          </a:p>
        </p:txBody>
      </p:sp>
      <p:sp>
        <p:nvSpPr>
          <p:cNvPr id="4" name="Slide Number Placeholder 3"/>
          <p:cNvSpPr>
            <a:spLocks noGrp="1"/>
          </p:cNvSpPr>
          <p:nvPr>
            <p:ph type="sldNum" sz="quarter" idx="5"/>
          </p:nvPr>
        </p:nvSpPr>
        <p:spPr/>
        <p:txBody>
          <a:bodyPr/>
          <a:lstStyle/>
          <a:p>
            <a:fld id="{CC198BAA-668A-4F9B-8189-C960952C6F57}" type="slidenum">
              <a:rPr lang="en-US" smtClean="0"/>
              <a:t>3</a:t>
            </a:fld>
            <a:endParaRPr lang="en-US"/>
          </a:p>
        </p:txBody>
      </p:sp>
    </p:spTree>
    <p:extLst>
      <p:ext uri="{BB962C8B-B14F-4D97-AF65-F5344CB8AC3E}">
        <p14:creationId xmlns:p14="http://schemas.microsoft.com/office/powerpoint/2010/main" val="820082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mbership</a:t>
            </a:r>
            <a:r>
              <a:rPr lang="en-US" b="0" dirty="0"/>
              <a:t>:</a:t>
            </a:r>
          </a:p>
          <a:p>
            <a:pPr lvl="1"/>
            <a:r>
              <a:rPr lang="en-US" b="0" dirty="0"/>
              <a:t>Clinical Advisors: Corrina, Fabiana, Michelle</a:t>
            </a:r>
          </a:p>
          <a:p>
            <a:pPr lvl="1"/>
            <a:r>
              <a:rPr lang="en-US" b="0" dirty="0"/>
              <a:t>Contributing Members (people with programmatic roles): Todd, Anne, Christine (Jenn S, Allison, others?)</a:t>
            </a:r>
          </a:p>
          <a:p>
            <a:pPr lvl="1"/>
            <a:r>
              <a:rPr lang="en-US" b="0" dirty="0"/>
              <a:t>Consultants (in tim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Examples for each bullet</a:t>
            </a:r>
            <a:endParaRPr lang="en-US" dirty="0"/>
          </a:p>
          <a:p>
            <a:pPr marL="0" indent="0">
              <a:buNone/>
            </a:pPr>
            <a:r>
              <a:rPr lang="en-US" dirty="0"/>
              <a:t>Champion projects to strengthen clinical programing and inspire innovative practices ground in program frameworks, strategic planning, and evidence-based practices.</a:t>
            </a:r>
          </a:p>
          <a:p>
            <a:r>
              <a:rPr lang="en-US" dirty="0"/>
              <a:t>Strategic Planning</a:t>
            </a:r>
          </a:p>
          <a:p>
            <a:r>
              <a:rPr lang="en-US" dirty="0"/>
              <a:t>Youth Program Framework Implementation</a:t>
            </a:r>
          </a:p>
          <a:p>
            <a:r>
              <a:rPr lang="en-US" dirty="0"/>
              <a:t>Discipline specific work and projects</a:t>
            </a:r>
          </a:p>
          <a:p>
            <a:endParaRPr lang="en-US" dirty="0"/>
          </a:p>
          <a:p>
            <a:pPr marL="0" indent="0">
              <a:buNone/>
            </a:pPr>
            <a:r>
              <a:rPr lang="en-US" dirty="0"/>
              <a:t>Create a culture of curiosity and learning by teaching, training, researching, and publishing in their areas of clinical practice.</a:t>
            </a:r>
          </a:p>
          <a:p>
            <a:r>
              <a:rPr lang="en-US" dirty="0"/>
              <a:t>Updating clinical trainings in pre-service</a:t>
            </a:r>
          </a:p>
          <a:p>
            <a:r>
              <a:rPr lang="en-US" dirty="0"/>
              <a:t>PD and training for clinicians</a:t>
            </a:r>
          </a:p>
          <a:p>
            <a:r>
              <a:rPr lang="en-US" dirty="0"/>
              <a:t>Research projects</a:t>
            </a:r>
          </a:p>
          <a:p>
            <a:endParaRPr lang="en-US" dirty="0"/>
          </a:p>
          <a:p>
            <a:pPr marL="0" indent="0">
              <a:buNone/>
            </a:pPr>
            <a:r>
              <a:rPr lang="en-US" dirty="0"/>
              <a:t>Provide high-quality clinical supervision, case conferencing, and peer review for a multi-disciplinary team of clinicians working with individuals across Guild program areas and settings.</a:t>
            </a:r>
          </a:p>
          <a:p>
            <a:r>
              <a:rPr lang="en-US" dirty="0"/>
              <a:t>Clinical Supervision Offerings</a:t>
            </a:r>
          </a:p>
          <a:p>
            <a:r>
              <a:rPr lang="en-US" dirty="0"/>
              <a:t>Clinical Peer Review</a:t>
            </a:r>
          </a:p>
        </p:txBody>
      </p:sp>
      <p:sp>
        <p:nvSpPr>
          <p:cNvPr id="4" name="Slide Number Placeholder 3"/>
          <p:cNvSpPr>
            <a:spLocks noGrp="1"/>
          </p:cNvSpPr>
          <p:nvPr>
            <p:ph type="sldNum" sz="quarter" idx="5"/>
          </p:nvPr>
        </p:nvSpPr>
        <p:spPr/>
        <p:txBody>
          <a:bodyPr/>
          <a:lstStyle/>
          <a:p>
            <a:fld id="{CC198BAA-668A-4F9B-8189-C960952C6F57}" type="slidenum">
              <a:rPr lang="en-US" smtClean="0"/>
              <a:t>8</a:t>
            </a:fld>
            <a:endParaRPr lang="en-US"/>
          </a:p>
        </p:txBody>
      </p:sp>
    </p:spTree>
    <p:extLst>
      <p:ext uri="{BB962C8B-B14F-4D97-AF65-F5344CB8AC3E}">
        <p14:creationId xmlns:p14="http://schemas.microsoft.com/office/powerpoint/2010/main" val="928895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turning to the reorganization summary and thinking about the impact of programmatic supervision for clinicians and the new capacity of the clinical advisors, we can think specifically about how progress can be accomplished on the strategic plan in these ways.</a:t>
            </a:r>
          </a:p>
          <a:p>
            <a:endParaRPr lang="en-US" b="1" i="1" dirty="0">
              <a:highlight>
                <a:srgbClr val="FFFF00"/>
              </a:highlight>
            </a:endParaRPr>
          </a:p>
          <a:p>
            <a:r>
              <a:rPr lang="en-US" dirty="0"/>
              <a:t>Utilize the strengths and professional training of advanced clinicians and current Clinical Directors and form a </a:t>
            </a:r>
            <a:r>
              <a:rPr lang="en-US" b="1" dirty="0"/>
              <a:t>Clinical Advisory Group </a:t>
            </a:r>
            <a:r>
              <a:rPr lang="en-US" dirty="0"/>
              <a:t>to serve agency-wide</a:t>
            </a:r>
          </a:p>
          <a:p>
            <a:r>
              <a:rPr lang="en-US" dirty="0"/>
              <a:t>	CONNECT: faith based partnerships, crisis support agencies, social activities with typical peer groups, community involvement, etc.</a:t>
            </a:r>
          </a:p>
          <a:p>
            <a:r>
              <a:rPr lang="en-US" dirty="0"/>
              <a:t>	CULTIVATE: identify and implement assessment measures for QOL (both qualitative and quantitative), use supervision and peer review to track QOL indicators, develop interventions to promote Q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egrate the </a:t>
            </a:r>
            <a:r>
              <a:rPr lang="en-US" b="1" dirty="0"/>
              <a:t>programmatic management of direct service providers </a:t>
            </a:r>
            <a:r>
              <a:rPr lang="en-US" dirty="0"/>
              <a:t>under the Director of Residential Services and the Director of Special Educ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INTEGRATE: clinicians become part of “the team”, program supervisors are hearing clinician input first-hand,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velop a </a:t>
            </a:r>
            <a:r>
              <a:rPr lang="en-US" b="1" dirty="0"/>
              <a:t>Family Services Department </a:t>
            </a:r>
            <a:r>
              <a:rPr lang="en-US" dirty="0"/>
              <a:t>to promote communication and collaboration with parents and guardians and to engage families through program particip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he Strategic Plan includes 15 objectives that reference families and/or guardia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INTEGRATE: working to build meaningful ways for parents to participate in programming as well as creating new opportunities for parents to make connections with each other and access educational and support groups, and 	new family resource roo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CULTIVATE: create consistent ways for families to stay connected with the individual’s living in Guild residences with specific attention paid to QOL indica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endParaRPr lang="en-US" b="0" i="1" dirty="0">
              <a:highlight>
                <a:srgbClr val="FFFF00"/>
              </a:highlight>
            </a:endParaRPr>
          </a:p>
        </p:txBody>
      </p:sp>
      <p:sp>
        <p:nvSpPr>
          <p:cNvPr id="4" name="Slide Number Placeholder 3"/>
          <p:cNvSpPr>
            <a:spLocks noGrp="1"/>
          </p:cNvSpPr>
          <p:nvPr>
            <p:ph type="sldNum" sz="quarter" idx="5"/>
          </p:nvPr>
        </p:nvSpPr>
        <p:spPr/>
        <p:txBody>
          <a:bodyPr/>
          <a:lstStyle/>
          <a:p>
            <a:fld id="{CC198BAA-668A-4F9B-8189-C960952C6F57}" type="slidenum">
              <a:rPr lang="en-US" smtClean="0"/>
              <a:t>9</a:t>
            </a:fld>
            <a:endParaRPr lang="en-US"/>
          </a:p>
        </p:txBody>
      </p:sp>
    </p:spTree>
    <p:extLst>
      <p:ext uri="{BB962C8B-B14F-4D97-AF65-F5344CB8AC3E}">
        <p14:creationId xmlns:p14="http://schemas.microsoft.com/office/powerpoint/2010/main" val="31476362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6" name="Parallelogram 25"/>
          <p:cNvSpPr/>
          <p:nvPr/>
        </p:nvSpPr>
        <p:spPr>
          <a:xfrm>
            <a:off x="5283199" y="-6930"/>
            <a:ext cx="6914268"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rgbClr val="A3D9D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Rectangle 26"/>
          <p:cNvSpPr/>
          <p:nvPr/>
        </p:nvSpPr>
        <p:spPr>
          <a:xfrm>
            <a:off x="0" y="3124200"/>
            <a:ext cx="12192000" cy="2362200"/>
          </a:xfrm>
          <a:prstGeom prst="rect">
            <a:avLst/>
          </a:prstGeom>
          <a:solidFill>
            <a:srgbClr val="F5831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5892800" y="4648201"/>
            <a:ext cx="52832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1016000" y="3425534"/>
            <a:ext cx="1016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a:t>Title Her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7945123" cy="1752601"/>
          </a:xfrm>
          <a:prstGeom prst="rect">
            <a:avLst/>
          </a:prstGeom>
        </p:spPr>
      </p:pic>
    </p:spTree>
    <p:extLst>
      <p:ext uri="{BB962C8B-B14F-4D97-AF65-F5344CB8AC3E}">
        <p14:creationId xmlns:p14="http://schemas.microsoft.com/office/powerpoint/2010/main" val="629814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94344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2ECC4-EFE9-A6D0-6270-FCC865FAA3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31420EA-0812-7157-AEA3-25B4A635D0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B3A4521-1552-C4C9-D12E-C398E0736CB2}"/>
              </a:ext>
            </a:extLst>
          </p:cNvPr>
          <p:cNvSpPr>
            <a:spLocks noGrp="1"/>
          </p:cNvSpPr>
          <p:nvPr>
            <p:ph type="dt" sz="half" idx="10"/>
          </p:nvPr>
        </p:nvSpPr>
        <p:spPr/>
        <p:txBody>
          <a:bodyPr/>
          <a:lstStyle/>
          <a:p>
            <a:fld id="{EED3B988-3C90-41CA-B110-B56CDD185B59}" type="datetimeFigureOut">
              <a:rPr lang="en-US" smtClean="0"/>
              <a:t>4/6/2023</a:t>
            </a:fld>
            <a:endParaRPr lang="en-US"/>
          </a:p>
        </p:txBody>
      </p:sp>
      <p:sp>
        <p:nvSpPr>
          <p:cNvPr id="5" name="Footer Placeholder 4">
            <a:extLst>
              <a:ext uri="{FF2B5EF4-FFF2-40B4-BE49-F238E27FC236}">
                <a16:creationId xmlns:a16="http://schemas.microsoft.com/office/drawing/2014/main" id="{AAAD855D-8B0C-E28C-4FC9-39A82DCCD8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1B2D7F-050A-BAE1-5427-4B0DE6114D58}"/>
              </a:ext>
            </a:extLst>
          </p:cNvPr>
          <p:cNvSpPr>
            <a:spLocks noGrp="1"/>
          </p:cNvSpPr>
          <p:nvPr>
            <p:ph type="sldNum" sz="quarter" idx="12"/>
          </p:nvPr>
        </p:nvSpPr>
        <p:spPr/>
        <p:txBody>
          <a:bodyPr/>
          <a:lstStyle/>
          <a:p>
            <a:fld id="{FA03B6CF-4209-4C5D-9DA1-89CFA60F379E}" type="slidenum">
              <a:rPr lang="en-US" smtClean="0"/>
              <a:t>‹#›</a:t>
            </a:fld>
            <a:endParaRPr lang="en-US"/>
          </a:p>
        </p:txBody>
      </p:sp>
    </p:spTree>
    <p:extLst>
      <p:ext uri="{BB962C8B-B14F-4D97-AF65-F5344CB8AC3E}">
        <p14:creationId xmlns:p14="http://schemas.microsoft.com/office/powerpoint/2010/main" val="938522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alpha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78509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Parallelogram 25"/>
          <p:cNvSpPr/>
          <p:nvPr/>
        </p:nvSpPr>
        <p:spPr>
          <a:xfrm>
            <a:off x="5283199" y="-6930"/>
            <a:ext cx="6914268"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rgbClr val="A3D9D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Content Placeholder 2"/>
          <p:cNvSpPr>
            <a:spLocks noGrp="1"/>
          </p:cNvSpPr>
          <p:nvPr>
            <p:ph idx="1"/>
          </p:nvPr>
        </p:nvSpPr>
        <p:spPr>
          <a:xfrm>
            <a:off x="914400" y="2397826"/>
            <a:ext cx="103632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hasCustomPrompt="1"/>
          </p:nvPr>
        </p:nvSpPr>
        <p:spPr>
          <a:xfrm>
            <a:off x="1320800" y="1676400"/>
            <a:ext cx="99568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agenda</a:t>
            </a: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2242"/>
            <a:ext cx="4876800" cy="1075765"/>
          </a:xfrm>
          <a:prstGeom prst="rect">
            <a:avLst/>
          </a:prstGeom>
        </p:spPr>
      </p:pic>
    </p:spTree>
    <p:extLst>
      <p:ext uri="{BB962C8B-B14F-4D97-AF65-F5344CB8AC3E}">
        <p14:creationId xmlns:p14="http://schemas.microsoft.com/office/powerpoint/2010/main" val="1811629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ction/Motion/Vot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863735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Parallelogram 25"/>
          <p:cNvSpPr/>
          <p:nvPr/>
        </p:nvSpPr>
        <p:spPr>
          <a:xfrm>
            <a:off x="5283199" y="-6930"/>
            <a:ext cx="6914268"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rgbClr val="A3D9D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p:cNvSpPr/>
          <p:nvPr/>
        </p:nvSpPr>
        <p:spPr>
          <a:xfrm>
            <a:off x="0" y="3124200"/>
            <a:ext cx="12192000" cy="2362200"/>
          </a:xfrm>
          <a:prstGeom prst="rect">
            <a:avLst/>
          </a:prstGeom>
          <a:solidFill>
            <a:srgbClr val="FDD10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1930400" y="3600697"/>
            <a:ext cx="8635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a:solidFill>
                  <a:schemeClr val="accent1"/>
                </a:solidFill>
              </a:rPr>
              <a:t>Motion/Consideration: Here</a:t>
            </a:r>
          </a:p>
        </p:txBody>
      </p:sp>
      <p:sp>
        <p:nvSpPr>
          <p:cNvPr id="8" name="Text Placeholder 3"/>
          <p:cNvSpPr>
            <a:spLocks noGrp="1"/>
          </p:cNvSpPr>
          <p:nvPr>
            <p:ph type="body" sz="quarter" idx="13" hasCustomPrompt="1"/>
          </p:nvPr>
        </p:nvSpPr>
        <p:spPr>
          <a:xfrm>
            <a:off x="1930400" y="2438400"/>
            <a:ext cx="84836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a:t>Action/Vote: Here</a:t>
            </a:r>
          </a:p>
        </p:txBody>
      </p:sp>
      <p:sp>
        <p:nvSpPr>
          <p:cNvPr id="7" name="TextBox 6"/>
          <p:cNvSpPr txBox="1"/>
          <p:nvPr/>
        </p:nvSpPr>
        <p:spPr>
          <a:xfrm>
            <a:off x="9042401" y="6627913"/>
            <a:ext cx="2946400" cy="169277"/>
          </a:xfrm>
          <a:prstGeom prst="rect">
            <a:avLst/>
          </a:prstGeom>
          <a:noFill/>
        </p:spPr>
        <p:txBody>
          <a:bodyPr wrap="square" lIns="0" tIns="0" rIns="0" bIns="0" rtlCol="0">
            <a:spAutoFit/>
          </a:bodyPr>
          <a:lstStyle/>
          <a:p>
            <a:pPr algn="r"/>
            <a:r>
              <a:rPr lang="en-US" sz="1000" dirty="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1"/>
            <a:ext cx="5486400" cy="1210235"/>
          </a:xfrm>
          <a:prstGeom prst="rect">
            <a:avLst/>
          </a:prstGeom>
        </p:spPr>
      </p:pic>
    </p:spTree>
    <p:extLst>
      <p:ext uri="{BB962C8B-B14F-4D97-AF65-F5344CB8AC3E}">
        <p14:creationId xmlns:p14="http://schemas.microsoft.com/office/powerpoint/2010/main" val="165927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asic Bulleted Lis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 y="1295400"/>
            <a:ext cx="10972800" cy="4525963"/>
          </a:xfrm>
          <a:prstGeom prst="rect">
            <a:avLst/>
          </a:prstGeom>
        </p:spPr>
        <p:txBody>
          <a:bodyPr>
            <a:normAutofit/>
          </a:bodyPr>
          <a:lstStyle>
            <a:lvl1pPr marL="342900" indent="-342900">
              <a:buFont typeface="Wingdings" panose="05000000000000000000" pitchFamily="2" charset="2"/>
              <a:buChar char="§"/>
              <a:defRPr sz="1600">
                <a:solidFill>
                  <a:schemeClr val="tx1"/>
                </a:solidFill>
              </a:defRPr>
            </a:lvl1pPr>
            <a:lvl2pPr>
              <a:defRPr sz="1600" baseline="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Master Text</a:t>
            </a:r>
          </a:p>
          <a:p>
            <a:pPr lvl="1"/>
            <a:r>
              <a:rPr lang="en-US" dirty="0"/>
              <a:t>Hit Tab for Second and subsequent levels</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ctrTitle" hasCustomPrompt="1"/>
          </p:nvPr>
        </p:nvSpPr>
        <p:spPr>
          <a:xfrm>
            <a:off x="609600" y="152400"/>
            <a:ext cx="109728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Basic Bulleted List</a:t>
            </a:r>
          </a:p>
        </p:txBody>
      </p:sp>
      <p:sp>
        <p:nvSpPr>
          <p:cNvPr id="4" name="Text Placeholder 3"/>
          <p:cNvSpPr>
            <a:spLocks noGrp="1"/>
          </p:cNvSpPr>
          <p:nvPr>
            <p:ph type="body" sz="quarter" idx="12" hasCustomPrompt="1"/>
          </p:nvPr>
        </p:nvSpPr>
        <p:spPr>
          <a:xfrm>
            <a:off x="1413933" y="6556843"/>
            <a:ext cx="10168467"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35426424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oftYellowBkgrnd">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609600" y="152400"/>
            <a:ext cx="109728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ontent w/ Soft Yellow Background</a:t>
            </a:r>
            <a:br>
              <a:rPr lang="en-US" dirty="0"/>
            </a:br>
            <a:endParaRPr lang="en-US" dirty="0"/>
          </a:p>
        </p:txBody>
      </p:sp>
      <p:sp>
        <p:nvSpPr>
          <p:cNvPr id="4" name="Text Placeholder 3"/>
          <p:cNvSpPr>
            <a:spLocks noGrp="1"/>
          </p:cNvSpPr>
          <p:nvPr>
            <p:ph type="body" sz="quarter" idx="12" hasCustomPrompt="1"/>
          </p:nvPr>
        </p:nvSpPr>
        <p:spPr>
          <a:xfrm>
            <a:off x="1413933" y="6556843"/>
            <a:ext cx="10168467"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
        <p:nvSpPr>
          <p:cNvPr id="6" name="Rectangle 5"/>
          <p:cNvSpPr/>
          <p:nvPr/>
        </p:nvSpPr>
        <p:spPr>
          <a:xfrm>
            <a:off x="0" y="1066800"/>
            <a:ext cx="12192000" cy="4953000"/>
          </a:xfrm>
          <a:prstGeom prst="rect">
            <a:avLst/>
          </a:prstGeom>
          <a:solidFill>
            <a:srgbClr val="FDD106">
              <a:alpha val="1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accent3">
                  <a:lumMod val="20000"/>
                  <a:lumOff val="80000"/>
                </a:schemeClr>
              </a:solidFill>
            </a:endParaRPr>
          </a:p>
        </p:txBody>
      </p:sp>
      <p:sp>
        <p:nvSpPr>
          <p:cNvPr id="13" name="Content Placeholder 12"/>
          <p:cNvSpPr>
            <a:spLocks noGrp="1"/>
          </p:cNvSpPr>
          <p:nvPr>
            <p:ph sz="quarter" idx="13"/>
          </p:nvPr>
        </p:nvSpPr>
        <p:spPr>
          <a:xfrm>
            <a:off x="711200" y="1295400"/>
            <a:ext cx="10871200" cy="4800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439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609600" y="152400"/>
            <a:ext cx="109728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413933" y="6556843"/>
            <a:ext cx="10168467"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4271382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609600" y="152400"/>
            <a:ext cx="109728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8" name="Text Placeholder 3"/>
          <p:cNvSpPr>
            <a:spLocks noGrp="1"/>
          </p:cNvSpPr>
          <p:nvPr>
            <p:ph type="body" sz="quarter" idx="13" hasCustomPrompt="1"/>
          </p:nvPr>
        </p:nvSpPr>
        <p:spPr>
          <a:xfrm>
            <a:off x="609600" y="1066800"/>
            <a:ext cx="109728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
        <p:nvSpPr>
          <p:cNvPr id="7" name="Text Placeholder 3"/>
          <p:cNvSpPr>
            <a:spLocks noGrp="1"/>
          </p:cNvSpPr>
          <p:nvPr>
            <p:ph type="body" sz="quarter" idx="12" hasCustomPrompt="1"/>
          </p:nvPr>
        </p:nvSpPr>
        <p:spPr>
          <a:xfrm>
            <a:off x="1413933" y="6556843"/>
            <a:ext cx="10168467"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3159226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amp; Subtitle, no logo">
    <p:spTree>
      <p:nvGrpSpPr>
        <p:cNvPr id="1" name=""/>
        <p:cNvGrpSpPr/>
        <p:nvPr/>
      </p:nvGrpSpPr>
      <p:grpSpPr>
        <a:xfrm>
          <a:off x="0" y="0"/>
          <a:ext cx="0" cy="0"/>
          <a:chOff x="0" y="0"/>
          <a:chExt cx="0" cy="0"/>
        </a:xfrm>
      </p:grpSpPr>
      <p:sp>
        <p:nvSpPr>
          <p:cNvPr id="2" name="Rectangle 1"/>
          <p:cNvSpPr>
            <a:spLocks noChangeArrowheads="1"/>
          </p:cNvSpPr>
          <p:nvPr/>
        </p:nvSpPr>
        <p:spPr bwMode="auto">
          <a:xfrm>
            <a:off x="609600" y="914400"/>
            <a:ext cx="10972800" cy="9144"/>
          </a:xfrm>
          <a:prstGeom prst="rect">
            <a:avLst/>
          </a:prstGeom>
          <a:solidFill>
            <a:schemeClr val="accent3"/>
          </a:solidFill>
          <a:ln w="12700" algn="in">
            <a:solidFill>
              <a:srgbClr val="FAA721"/>
            </a:solidFill>
            <a:miter lim="800000"/>
            <a:headEnd/>
            <a:tailEnd/>
          </a:ln>
          <a:effectLst/>
        </p:spPr>
        <p:txBody>
          <a:bodyPr rot="0" vert="horz" wrap="square" lIns="36562" tIns="36562" rIns="36562" bIns="36562" anchor="t" anchorCtr="0" upright="1">
            <a:noAutofit/>
          </a:bodyPr>
          <a:lstStyle/>
          <a:p>
            <a:endParaRPr lang="en-US" sz="1800"/>
          </a:p>
        </p:txBody>
      </p:sp>
      <p:sp>
        <p:nvSpPr>
          <p:cNvPr id="3" name="Title 1"/>
          <p:cNvSpPr>
            <a:spLocks noGrp="1"/>
          </p:cNvSpPr>
          <p:nvPr>
            <p:ph type="ctrTitle"/>
          </p:nvPr>
        </p:nvSpPr>
        <p:spPr>
          <a:xfrm>
            <a:off x="609600" y="152400"/>
            <a:ext cx="109728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3" hasCustomPrompt="1"/>
          </p:nvPr>
        </p:nvSpPr>
        <p:spPr>
          <a:xfrm>
            <a:off x="609600" y="1066800"/>
            <a:ext cx="109728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31887327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slide, logo only">
    <p:spTree>
      <p:nvGrpSpPr>
        <p:cNvPr id="1" name=""/>
        <p:cNvGrpSpPr/>
        <p:nvPr/>
      </p:nvGrpSpPr>
      <p:grpSpPr>
        <a:xfrm>
          <a:off x="0" y="0"/>
          <a:ext cx="0" cy="0"/>
          <a:chOff x="0" y="0"/>
          <a:chExt cx="0" cy="0"/>
        </a:xfrm>
      </p:grpSpPr>
      <p:sp>
        <p:nvSpPr>
          <p:cNvPr id="2" name="Rectangle 1"/>
          <p:cNvSpPr/>
          <p:nvPr/>
        </p:nvSpPr>
        <p:spPr>
          <a:xfrm>
            <a:off x="0" y="0"/>
            <a:ext cx="12192000" cy="6019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Content Placeholder 3"/>
          <p:cNvSpPr>
            <a:spLocks noGrp="1"/>
          </p:cNvSpPr>
          <p:nvPr>
            <p:ph sz="quarter" idx="10"/>
          </p:nvPr>
        </p:nvSpPr>
        <p:spPr>
          <a:xfrm>
            <a:off x="1117600" y="304800"/>
            <a:ext cx="10058400" cy="60960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5953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3"/>
            </p:custDataLst>
            <p:extLst>
              <p:ext uri="{D42A27DB-BD31-4B8C-83A1-F6EECF244321}">
                <p14:modId xmlns:p14="http://schemas.microsoft.com/office/powerpoint/2010/main" val="3575217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9" name="Object 8"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7" name="Rectangle 6"/>
          <p:cNvSpPr>
            <a:spLocks noChangeArrowheads="1"/>
          </p:cNvSpPr>
          <p:nvPr/>
        </p:nvSpPr>
        <p:spPr bwMode="auto">
          <a:xfrm>
            <a:off x="609600" y="914400"/>
            <a:ext cx="10972800" cy="9144"/>
          </a:xfrm>
          <a:prstGeom prst="rect">
            <a:avLst/>
          </a:prstGeom>
          <a:solidFill>
            <a:srgbClr val="F5831F"/>
          </a:solidFill>
          <a:ln w="12700" algn="in">
            <a:solidFill>
              <a:srgbClr val="FAA721"/>
            </a:solidFill>
            <a:miter lim="800000"/>
            <a:headEnd/>
            <a:tailEnd/>
          </a:ln>
          <a:effectLst/>
        </p:spPr>
        <p:txBody>
          <a:bodyPr rot="0" vert="horz" wrap="square" lIns="36562" tIns="36562" rIns="36562" bIns="36562" anchor="t" anchorCtr="0" upright="1">
            <a:noAutofit/>
          </a:bodyPr>
          <a:lstStyle/>
          <a:p>
            <a:endParaRPr lang="en-US" sz="1800"/>
          </a:p>
        </p:txBody>
      </p:sp>
      <p:sp>
        <p:nvSpPr>
          <p:cNvPr id="10" name="TextBox 9"/>
          <p:cNvSpPr txBox="1"/>
          <p:nvPr/>
        </p:nvSpPr>
        <p:spPr>
          <a:xfrm>
            <a:off x="9042401" y="6627913"/>
            <a:ext cx="2946400" cy="169277"/>
          </a:xfrm>
          <a:prstGeom prst="rect">
            <a:avLst/>
          </a:prstGeom>
          <a:noFill/>
        </p:spPr>
        <p:txBody>
          <a:bodyPr wrap="square" lIns="0" tIns="0" rIns="0" bIns="0" rtlCol="0">
            <a:spAutoFit/>
          </a:bodyPr>
          <a:lstStyle/>
          <a:p>
            <a:pPr algn="r"/>
            <a:r>
              <a:rPr lang="en-US" sz="1000" dirty="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1600" y="5992969"/>
            <a:ext cx="1117600" cy="838200"/>
          </a:xfrm>
          <a:prstGeom prst="rect">
            <a:avLst/>
          </a:prstGeom>
        </p:spPr>
      </p:pic>
    </p:spTree>
    <p:extLst>
      <p:ext uri="{BB962C8B-B14F-4D97-AF65-F5344CB8AC3E}">
        <p14:creationId xmlns:p14="http://schemas.microsoft.com/office/powerpoint/2010/main" val="26867791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946F2-BE2E-532F-3DD5-50916049F26E}"/>
              </a:ext>
            </a:extLst>
          </p:cNvPr>
          <p:cNvSpPr>
            <a:spLocks noGrp="1"/>
          </p:cNvSpPr>
          <p:nvPr>
            <p:ph type="ctrTitle"/>
          </p:nvPr>
        </p:nvSpPr>
        <p:spPr>
          <a:xfrm>
            <a:off x="1524000" y="1078029"/>
            <a:ext cx="9144000" cy="3465095"/>
          </a:xfrm>
        </p:spPr>
        <p:txBody>
          <a:bodyPr/>
          <a:lstStyle/>
          <a:p>
            <a:r>
              <a:rPr lang="en-US" sz="5000" dirty="0"/>
              <a:t>Clinical Division Reorganization and Youth Program Integration</a:t>
            </a:r>
          </a:p>
        </p:txBody>
      </p:sp>
      <p:sp>
        <p:nvSpPr>
          <p:cNvPr id="3" name="Subtitle 2">
            <a:extLst>
              <a:ext uri="{FF2B5EF4-FFF2-40B4-BE49-F238E27FC236}">
                <a16:creationId xmlns:a16="http://schemas.microsoft.com/office/drawing/2014/main" id="{825571AF-E6DC-92B0-08C2-EFA2B87958C5}"/>
              </a:ext>
            </a:extLst>
          </p:cNvPr>
          <p:cNvSpPr>
            <a:spLocks noGrp="1"/>
          </p:cNvSpPr>
          <p:nvPr>
            <p:ph type="subTitle" idx="1"/>
          </p:nvPr>
        </p:nvSpPr>
        <p:spPr>
          <a:xfrm>
            <a:off x="1524000" y="5149516"/>
            <a:ext cx="9144000" cy="1106562"/>
          </a:xfrm>
        </p:spPr>
        <p:txBody>
          <a:bodyPr/>
          <a:lstStyle/>
          <a:p>
            <a:r>
              <a:rPr lang="en-US" dirty="0"/>
              <a:t>March 2023</a:t>
            </a:r>
          </a:p>
        </p:txBody>
      </p:sp>
    </p:spTree>
    <p:extLst>
      <p:ext uri="{BB962C8B-B14F-4D97-AF65-F5344CB8AC3E}">
        <p14:creationId xmlns:p14="http://schemas.microsoft.com/office/powerpoint/2010/main" val="23696560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946F2-BE2E-532F-3DD5-50916049F26E}"/>
              </a:ext>
            </a:extLst>
          </p:cNvPr>
          <p:cNvSpPr>
            <a:spLocks noGrp="1"/>
          </p:cNvSpPr>
          <p:nvPr>
            <p:ph type="ctrTitle"/>
          </p:nvPr>
        </p:nvSpPr>
        <p:spPr>
          <a:xfrm>
            <a:off x="1524000" y="1078029"/>
            <a:ext cx="9144000" cy="3465095"/>
          </a:xfrm>
        </p:spPr>
        <p:txBody>
          <a:bodyPr/>
          <a:lstStyle/>
          <a:p>
            <a:r>
              <a:rPr lang="en-US" sz="5000" dirty="0"/>
              <a:t>Clinical Division Reorganization and Youth Program Integration</a:t>
            </a:r>
          </a:p>
        </p:txBody>
      </p:sp>
      <p:sp>
        <p:nvSpPr>
          <p:cNvPr id="3" name="Subtitle 2">
            <a:extLst>
              <a:ext uri="{FF2B5EF4-FFF2-40B4-BE49-F238E27FC236}">
                <a16:creationId xmlns:a16="http://schemas.microsoft.com/office/drawing/2014/main" id="{825571AF-E6DC-92B0-08C2-EFA2B87958C5}"/>
              </a:ext>
            </a:extLst>
          </p:cNvPr>
          <p:cNvSpPr>
            <a:spLocks noGrp="1"/>
          </p:cNvSpPr>
          <p:nvPr>
            <p:ph type="subTitle" idx="1"/>
          </p:nvPr>
        </p:nvSpPr>
        <p:spPr>
          <a:xfrm>
            <a:off x="1524000" y="5149516"/>
            <a:ext cx="9144000" cy="1106562"/>
          </a:xfrm>
        </p:spPr>
        <p:txBody>
          <a:bodyPr/>
          <a:lstStyle/>
          <a:p>
            <a:r>
              <a:rPr lang="en-US" dirty="0"/>
              <a:t>March 2023</a:t>
            </a:r>
          </a:p>
        </p:txBody>
      </p:sp>
    </p:spTree>
    <p:extLst>
      <p:ext uri="{BB962C8B-B14F-4D97-AF65-F5344CB8AC3E}">
        <p14:creationId xmlns:p14="http://schemas.microsoft.com/office/powerpoint/2010/main" val="1900157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9DEB94-68C4-C31C-56F0-DA5AD25E04B1}"/>
              </a:ext>
            </a:extLst>
          </p:cNvPr>
          <p:cNvSpPr>
            <a:spLocks noGrp="1"/>
          </p:cNvSpPr>
          <p:nvPr>
            <p:ph type="ctrTitle"/>
          </p:nvPr>
        </p:nvSpPr>
        <p:spPr/>
        <p:txBody>
          <a:bodyPr/>
          <a:lstStyle/>
          <a:p>
            <a:r>
              <a:rPr lang="en-US" dirty="0"/>
              <a:t>Objectives of Clinical Reorganization and Integration</a:t>
            </a:r>
          </a:p>
        </p:txBody>
      </p:sp>
      <p:sp>
        <p:nvSpPr>
          <p:cNvPr id="9" name="Content Placeholder 8">
            <a:extLst>
              <a:ext uri="{FF2B5EF4-FFF2-40B4-BE49-F238E27FC236}">
                <a16:creationId xmlns:a16="http://schemas.microsoft.com/office/drawing/2014/main" id="{8A9C1E2B-25C0-7A27-9751-39EC2B8C6D51}"/>
              </a:ext>
            </a:extLst>
          </p:cNvPr>
          <p:cNvSpPr>
            <a:spLocks noGrp="1"/>
          </p:cNvSpPr>
          <p:nvPr>
            <p:ph idx="1"/>
          </p:nvPr>
        </p:nvSpPr>
        <p:spPr/>
        <p:txBody>
          <a:bodyPr/>
          <a:lstStyle/>
          <a:p>
            <a:pPr>
              <a:buFont typeface="+mj-lt"/>
              <a:buAutoNum type="arabicPeriod"/>
            </a:pPr>
            <a:r>
              <a:rPr lang="en-US" dirty="0"/>
              <a:t>Build the capacity of the Clinical Leadership Team to serve agency-wide and create community partnerships to develop and disseminate mission-led, innovative clinical practices within the field of I/DD service delivery. </a:t>
            </a:r>
          </a:p>
          <a:p>
            <a:pPr>
              <a:buFont typeface="+mj-lt"/>
              <a:buAutoNum type="arabicPeriod"/>
            </a:pPr>
            <a:endParaRPr lang="en-US" dirty="0"/>
          </a:p>
          <a:p>
            <a:pPr>
              <a:buFont typeface="+mj-lt"/>
              <a:buAutoNum type="arabicPeriod"/>
            </a:pPr>
            <a:r>
              <a:rPr lang="en-US" dirty="0"/>
              <a:t>Continue the integration work started in 2021 between the residential and school programs by developing programmatic oversight of direct clinical providers to improve communication, collaboration, and implementation of clinical services across milieu settings.</a:t>
            </a:r>
          </a:p>
          <a:p>
            <a:pPr>
              <a:buFont typeface="+mj-lt"/>
              <a:buAutoNum type="arabicPeriod"/>
            </a:pPr>
            <a:endParaRPr lang="en-US" dirty="0"/>
          </a:p>
          <a:p>
            <a:pPr>
              <a:buFont typeface="+mj-lt"/>
              <a:buAutoNum type="arabicPeriod"/>
            </a:pPr>
            <a:r>
              <a:rPr lang="en-US" dirty="0"/>
              <a:t>Create a culture of curiosity and learning at The Guild by developing, coordinating, and conducting a variety of meaningful learning opportunities for Guild employees, stakeholders, community members, and professionals serving individuals with I/DD.</a:t>
            </a:r>
          </a:p>
        </p:txBody>
      </p:sp>
    </p:spTree>
    <p:extLst>
      <p:ext uri="{BB962C8B-B14F-4D97-AF65-F5344CB8AC3E}">
        <p14:creationId xmlns:p14="http://schemas.microsoft.com/office/powerpoint/2010/main" val="3227526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3E3A9A-598C-E0AF-6FE2-B1DD099AD2DF}"/>
              </a:ext>
            </a:extLst>
          </p:cNvPr>
          <p:cNvSpPr>
            <a:spLocks noGrp="1"/>
          </p:cNvSpPr>
          <p:nvPr>
            <p:ph idx="1"/>
          </p:nvPr>
        </p:nvSpPr>
        <p:spPr/>
        <p:txBody>
          <a:bodyPr/>
          <a:lstStyle/>
          <a:p>
            <a:r>
              <a:rPr lang="en-US" dirty="0"/>
              <a:t>Utilize the strengths and professional training of advanced clinicians and current Clinical Directors and form a </a:t>
            </a:r>
            <a:r>
              <a:rPr lang="en-US" b="1" dirty="0"/>
              <a:t>Clinical Advisory Group </a:t>
            </a:r>
            <a:r>
              <a:rPr lang="en-US" dirty="0"/>
              <a:t>to serve agency-wide.</a:t>
            </a:r>
          </a:p>
          <a:p>
            <a:endParaRPr lang="en-US" dirty="0"/>
          </a:p>
          <a:p>
            <a:r>
              <a:rPr lang="en-US" dirty="0"/>
              <a:t>Integrate the </a:t>
            </a:r>
            <a:r>
              <a:rPr lang="en-US" b="1" dirty="0"/>
              <a:t>programmatic management of direct service providers </a:t>
            </a:r>
            <a:r>
              <a:rPr lang="en-US" dirty="0"/>
              <a:t>under the Director of Residential Services and the Director of Special Education.</a:t>
            </a:r>
          </a:p>
          <a:p>
            <a:endParaRPr lang="en-US" dirty="0"/>
          </a:p>
          <a:p>
            <a:r>
              <a:rPr lang="en-US" dirty="0"/>
              <a:t>Develop a </a:t>
            </a:r>
            <a:r>
              <a:rPr lang="en-US" b="1" dirty="0"/>
              <a:t>Family Services Department </a:t>
            </a:r>
            <a:r>
              <a:rPr lang="en-US" dirty="0"/>
              <a:t>to promote communication and collaboration with parents and guardians and to engage families through program participation.</a:t>
            </a:r>
          </a:p>
        </p:txBody>
      </p:sp>
      <p:sp>
        <p:nvSpPr>
          <p:cNvPr id="3" name="Title 2">
            <a:extLst>
              <a:ext uri="{FF2B5EF4-FFF2-40B4-BE49-F238E27FC236}">
                <a16:creationId xmlns:a16="http://schemas.microsoft.com/office/drawing/2014/main" id="{1987B85E-3B31-11C4-8DB0-06BF836E1B8F}"/>
              </a:ext>
            </a:extLst>
          </p:cNvPr>
          <p:cNvSpPr>
            <a:spLocks noGrp="1"/>
          </p:cNvSpPr>
          <p:nvPr>
            <p:ph type="ctrTitle"/>
          </p:nvPr>
        </p:nvSpPr>
        <p:spPr/>
        <p:txBody>
          <a:bodyPr/>
          <a:lstStyle/>
          <a:p>
            <a:r>
              <a:rPr lang="en-US" dirty="0"/>
              <a:t>Reorganization Summary</a:t>
            </a:r>
          </a:p>
        </p:txBody>
      </p:sp>
      <p:sp>
        <p:nvSpPr>
          <p:cNvPr id="4" name="Text Placeholder 3">
            <a:extLst>
              <a:ext uri="{FF2B5EF4-FFF2-40B4-BE49-F238E27FC236}">
                <a16:creationId xmlns:a16="http://schemas.microsoft.com/office/drawing/2014/main" id="{60704A1D-4ADF-0FF3-BA0F-34F19FBF466E}"/>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793386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7117B459-475F-C43E-94C8-708811667DAA}"/>
              </a:ext>
            </a:extLst>
          </p:cNvPr>
          <p:cNvGraphicFramePr>
            <a:graphicFrameLocks noGrp="1"/>
          </p:cNvGraphicFramePr>
          <p:nvPr>
            <p:ph idx="1"/>
            <p:extLst>
              <p:ext uri="{D42A27DB-BD31-4B8C-83A1-F6EECF244321}">
                <p14:modId xmlns:p14="http://schemas.microsoft.com/office/powerpoint/2010/main" val="4065507601"/>
              </p:ext>
            </p:extLst>
          </p:nvPr>
        </p:nvGraphicFramePr>
        <p:xfrm>
          <a:off x="609600" y="1295400"/>
          <a:ext cx="10972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AA59A912-2220-08DA-CF54-D5509DDE9869}"/>
              </a:ext>
            </a:extLst>
          </p:cNvPr>
          <p:cNvSpPr>
            <a:spLocks noGrp="1"/>
          </p:cNvSpPr>
          <p:nvPr>
            <p:ph type="ctrTitle"/>
          </p:nvPr>
        </p:nvSpPr>
        <p:spPr/>
        <p:txBody>
          <a:bodyPr/>
          <a:lstStyle/>
          <a:p>
            <a:r>
              <a:rPr lang="en-US" dirty="0"/>
              <a:t>Changes to Clinical Division</a:t>
            </a:r>
          </a:p>
        </p:txBody>
      </p:sp>
      <p:sp>
        <p:nvSpPr>
          <p:cNvPr id="8" name="Arrow: Down 7">
            <a:extLst>
              <a:ext uri="{FF2B5EF4-FFF2-40B4-BE49-F238E27FC236}">
                <a16:creationId xmlns:a16="http://schemas.microsoft.com/office/drawing/2014/main" id="{D745570C-52D1-A6F8-0816-EB054CE46127}"/>
              </a:ext>
            </a:extLst>
          </p:cNvPr>
          <p:cNvSpPr/>
          <p:nvPr/>
        </p:nvSpPr>
        <p:spPr>
          <a:xfrm>
            <a:off x="5410200" y="4632960"/>
            <a:ext cx="198120" cy="822960"/>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DAD5E068-24DF-7C06-D087-D1E52E567923}"/>
              </a:ext>
            </a:extLst>
          </p:cNvPr>
          <p:cNvSpPr/>
          <p:nvPr/>
        </p:nvSpPr>
        <p:spPr>
          <a:xfrm>
            <a:off x="7269480" y="4632960"/>
            <a:ext cx="198120" cy="822960"/>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Down 9">
            <a:extLst>
              <a:ext uri="{FF2B5EF4-FFF2-40B4-BE49-F238E27FC236}">
                <a16:creationId xmlns:a16="http://schemas.microsoft.com/office/drawing/2014/main" id="{4B37CB72-C2E9-2BFE-A92F-B434185A79E7}"/>
              </a:ext>
            </a:extLst>
          </p:cNvPr>
          <p:cNvSpPr/>
          <p:nvPr/>
        </p:nvSpPr>
        <p:spPr>
          <a:xfrm>
            <a:off x="9029700" y="4632960"/>
            <a:ext cx="198120" cy="822960"/>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97711F1E-F8A9-6288-5EF4-F0D590430C66}"/>
              </a:ext>
            </a:extLst>
          </p:cNvPr>
          <p:cNvSpPr/>
          <p:nvPr/>
        </p:nvSpPr>
        <p:spPr>
          <a:xfrm>
            <a:off x="10767060" y="4632960"/>
            <a:ext cx="198120" cy="822960"/>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ECFA6D6-D887-A678-2CFD-718F80C2D689}"/>
              </a:ext>
            </a:extLst>
          </p:cNvPr>
          <p:cNvSpPr/>
          <p:nvPr/>
        </p:nvSpPr>
        <p:spPr>
          <a:xfrm>
            <a:off x="4861560" y="5562600"/>
            <a:ext cx="6720840" cy="1112203"/>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solidFill>
              </a:rPr>
              <a:t>Clinical Consultation to Adult/Youth Program leadership</a:t>
            </a:r>
          </a:p>
          <a:p>
            <a:pPr algn="ctr"/>
            <a:endParaRPr lang="en-US" sz="1400" dirty="0">
              <a:solidFill>
                <a:schemeClr val="accent1"/>
              </a:solidFill>
            </a:endParaRPr>
          </a:p>
          <a:p>
            <a:pPr algn="ctr"/>
            <a:r>
              <a:rPr lang="en-US" sz="1400" dirty="0">
                <a:solidFill>
                  <a:schemeClr val="accent1"/>
                </a:solidFill>
              </a:rPr>
              <a:t>Direct Clinical Supervision of Providers</a:t>
            </a:r>
          </a:p>
          <a:p>
            <a:pPr algn="ctr"/>
            <a:endParaRPr lang="en-US" sz="1400" dirty="0">
              <a:solidFill>
                <a:schemeClr val="accent1"/>
              </a:solidFill>
            </a:endParaRPr>
          </a:p>
          <a:p>
            <a:pPr algn="ctr"/>
            <a:r>
              <a:rPr lang="en-US" sz="1400" dirty="0">
                <a:solidFill>
                  <a:schemeClr val="accent1"/>
                </a:solidFill>
              </a:rPr>
              <a:t>Assessment Services and Crisis Supports as needed</a:t>
            </a:r>
          </a:p>
        </p:txBody>
      </p:sp>
      <p:sp>
        <p:nvSpPr>
          <p:cNvPr id="2" name="Rectangle 1">
            <a:extLst>
              <a:ext uri="{FF2B5EF4-FFF2-40B4-BE49-F238E27FC236}">
                <a16:creationId xmlns:a16="http://schemas.microsoft.com/office/drawing/2014/main" id="{79C7F1B9-D99C-9D62-7DF3-BA6A7BA77EC4}"/>
              </a:ext>
            </a:extLst>
          </p:cNvPr>
          <p:cNvSpPr/>
          <p:nvPr/>
        </p:nvSpPr>
        <p:spPr>
          <a:xfrm>
            <a:off x="9679577" y="1055914"/>
            <a:ext cx="896983" cy="4789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xisting</a:t>
            </a:r>
          </a:p>
        </p:txBody>
      </p:sp>
      <p:sp>
        <p:nvSpPr>
          <p:cNvPr id="4" name="Rectangle 3">
            <a:extLst>
              <a:ext uri="{FF2B5EF4-FFF2-40B4-BE49-F238E27FC236}">
                <a16:creationId xmlns:a16="http://schemas.microsoft.com/office/drawing/2014/main" id="{A018423F-AFA0-512D-FF2F-CCD1C008613F}"/>
              </a:ext>
            </a:extLst>
          </p:cNvPr>
          <p:cNvSpPr/>
          <p:nvPr/>
        </p:nvSpPr>
        <p:spPr>
          <a:xfrm>
            <a:off x="10685417" y="1055913"/>
            <a:ext cx="896983" cy="478971"/>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solidFill>
              </a:rPr>
              <a:t>New</a:t>
            </a:r>
          </a:p>
        </p:txBody>
      </p:sp>
    </p:spTree>
    <p:extLst>
      <p:ext uri="{BB962C8B-B14F-4D97-AF65-F5344CB8AC3E}">
        <p14:creationId xmlns:p14="http://schemas.microsoft.com/office/powerpoint/2010/main" val="2604013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A140C8-F17B-9B6C-154B-2829E9F5DA20}"/>
              </a:ext>
            </a:extLst>
          </p:cNvPr>
          <p:cNvSpPr>
            <a:spLocks noGrp="1"/>
          </p:cNvSpPr>
          <p:nvPr>
            <p:ph type="ctrTitle"/>
          </p:nvPr>
        </p:nvSpPr>
        <p:spPr/>
        <p:txBody>
          <a:bodyPr/>
          <a:lstStyle/>
          <a:p>
            <a:r>
              <a:rPr lang="en-US" dirty="0"/>
              <a:t>UPDATED Clinical Assignments within Residential Department</a:t>
            </a:r>
          </a:p>
        </p:txBody>
      </p:sp>
      <p:graphicFrame>
        <p:nvGraphicFramePr>
          <p:cNvPr id="12" name="Content Placeholder 4">
            <a:extLst>
              <a:ext uri="{FF2B5EF4-FFF2-40B4-BE49-F238E27FC236}">
                <a16:creationId xmlns:a16="http://schemas.microsoft.com/office/drawing/2014/main" id="{D2E7623F-64FB-CC56-5F7C-07364FBC3E22}"/>
              </a:ext>
            </a:extLst>
          </p:cNvPr>
          <p:cNvGraphicFramePr>
            <a:graphicFrameLocks/>
          </p:cNvGraphicFramePr>
          <p:nvPr>
            <p:extLst>
              <p:ext uri="{D42A27DB-BD31-4B8C-83A1-F6EECF244321}">
                <p14:modId xmlns:p14="http://schemas.microsoft.com/office/powerpoint/2010/main" val="1189684500"/>
              </p:ext>
            </p:extLst>
          </p:nvPr>
        </p:nvGraphicFramePr>
        <p:xfrm>
          <a:off x="304800" y="1071741"/>
          <a:ext cx="11582400" cy="54509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941071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A140C8-F17B-9B6C-154B-2829E9F5DA20}"/>
              </a:ext>
            </a:extLst>
          </p:cNvPr>
          <p:cNvSpPr>
            <a:spLocks noGrp="1"/>
          </p:cNvSpPr>
          <p:nvPr>
            <p:ph type="ctrTitle"/>
          </p:nvPr>
        </p:nvSpPr>
        <p:spPr/>
        <p:txBody>
          <a:bodyPr/>
          <a:lstStyle/>
          <a:p>
            <a:r>
              <a:rPr lang="en-US" dirty="0"/>
              <a:t>UPDATED Clinical Assignments within Education Department</a:t>
            </a:r>
          </a:p>
        </p:txBody>
      </p:sp>
      <p:graphicFrame>
        <p:nvGraphicFramePr>
          <p:cNvPr id="12" name="Content Placeholder 4">
            <a:extLst>
              <a:ext uri="{FF2B5EF4-FFF2-40B4-BE49-F238E27FC236}">
                <a16:creationId xmlns:a16="http://schemas.microsoft.com/office/drawing/2014/main" id="{D2E7623F-64FB-CC56-5F7C-07364FBC3E22}"/>
              </a:ext>
            </a:extLst>
          </p:cNvPr>
          <p:cNvGraphicFramePr>
            <a:graphicFrameLocks/>
          </p:cNvGraphicFramePr>
          <p:nvPr>
            <p:extLst>
              <p:ext uri="{D42A27DB-BD31-4B8C-83A1-F6EECF244321}">
                <p14:modId xmlns:p14="http://schemas.microsoft.com/office/powerpoint/2010/main" val="865985821"/>
              </p:ext>
            </p:extLst>
          </p:nvPr>
        </p:nvGraphicFramePr>
        <p:xfrm>
          <a:off x="0" y="1045617"/>
          <a:ext cx="10539663" cy="46043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99733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519A924D-95E7-A669-443C-1E35C60EACD5}"/>
              </a:ext>
            </a:extLst>
          </p:cNvPr>
          <p:cNvGraphicFramePr>
            <a:graphicFrameLocks noGrp="1"/>
          </p:cNvGraphicFramePr>
          <p:nvPr>
            <p:ph idx="1"/>
            <p:extLst>
              <p:ext uri="{D42A27DB-BD31-4B8C-83A1-F6EECF244321}">
                <p14:modId xmlns:p14="http://schemas.microsoft.com/office/powerpoint/2010/main" val="1631247077"/>
              </p:ext>
            </p:extLst>
          </p:nvPr>
        </p:nvGraphicFramePr>
        <p:xfrm>
          <a:off x="2987040" y="1759126"/>
          <a:ext cx="10227013" cy="3596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B236BA0E-1BF0-5EF7-6B8F-A5F9D1618F09}"/>
              </a:ext>
            </a:extLst>
          </p:cNvPr>
          <p:cNvSpPr>
            <a:spLocks noGrp="1"/>
          </p:cNvSpPr>
          <p:nvPr>
            <p:ph type="ctrTitle"/>
          </p:nvPr>
        </p:nvSpPr>
        <p:spPr/>
        <p:txBody>
          <a:bodyPr/>
          <a:lstStyle/>
          <a:p>
            <a:r>
              <a:rPr lang="en-US" dirty="0"/>
              <a:t>Clinical Advisory Support to the Program Division</a:t>
            </a:r>
          </a:p>
        </p:txBody>
      </p:sp>
      <p:sp>
        <p:nvSpPr>
          <p:cNvPr id="8" name="Arrow: Down 7">
            <a:extLst>
              <a:ext uri="{FF2B5EF4-FFF2-40B4-BE49-F238E27FC236}">
                <a16:creationId xmlns:a16="http://schemas.microsoft.com/office/drawing/2014/main" id="{D0EC6F7B-9B94-F1EC-DC82-488F8E0A2973}"/>
              </a:ext>
            </a:extLst>
          </p:cNvPr>
          <p:cNvSpPr/>
          <p:nvPr/>
        </p:nvSpPr>
        <p:spPr>
          <a:xfrm rot="16200000">
            <a:off x="5426081" y="2550459"/>
            <a:ext cx="198120" cy="548640"/>
          </a:xfrm>
          <a:prstGeom prst="downArrow">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B55747A-2F72-B956-C84C-D14B8CD9EA4F}"/>
              </a:ext>
            </a:extLst>
          </p:cNvPr>
          <p:cNvSpPr/>
          <p:nvPr/>
        </p:nvSpPr>
        <p:spPr>
          <a:xfrm>
            <a:off x="1846730" y="2317459"/>
            <a:ext cx="3173506" cy="1014640"/>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1"/>
                </a:solidFill>
              </a:rPr>
              <a:t>Receiving clinical consultation from members of the Clinical Advisory Team</a:t>
            </a:r>
          </a:p>
        </p:txBody>
      </p:sp>
    </p:spTree>
    <p:extLst>
      <p:ext uri="{BB962C8B-B14F-4D97-AF65-F5344CB8AC3E}">
        <p14:creationId xmlns:p14="http://schemas.microsoft.com/office/powerpoint/2010/main" val="10439864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A8DF68-A5CA-C9DF-4C9F-D706EC8E8FD5}"/>
              </a:ext>
            </a:extLst>
          </p:cNvPr>
          <p:cNvSpPr>
            <a:spLocks noGrp="1"/>
          </p:cNvSpPr>
          <p:nvPr>
            <p:ph idx="1"/>
          </p:nvPr>
        </p:nvSpPr>
        <p:spPr>
          <a:xfrm>
            <a:off x="609600" y="1295400"/>
            <a:ext cx="10972800" cy="5000897"/>
          </a:xfrm>
        </p:spPr>
        <p:txBody>
          <a:bodyPr>
            <a:normAutofit/>
          </a:bodyPr>
          <a:lstStyle/>
          <a:p>
            <a:pPr marL="0" indent="0">
              <a:buNone/>
            </a:pPr>
            <a:r>
              <a:rPr lang="en-US" dirty="0"/>
              <a:t>A group of experienced, multi-disciplinary clinicians that provide clinical leadership to all areas of The Guild regarding clinical decision-making and mission-led program development.  Members of this team have extensive experience serving individuals with I/DD and related disorders along with advanced training, certification, and licensure in the clinical and related services disciplines.</a:t>
            </a:r>
          </a:p>
          <a:p>
            <a:endParaRPr lang="en-US" dirty="0"/>
          </a:p>
          <a:p>
            <a:pPr marL="0" indent="0">
              <a:buNone/>
            </a:pPr>
            <a:r>
              <a:rPr lang="en-US" dirty="0"/>
              <a:t>The Clinical Advisory Team serves The Guild by:</a:t>
            </a:r>
          </a:p>
          <a:p>
            <a:pPr indent="-230188"/>
            <a:r>
              <a:rPr lang="en-US" dirty="0"/>
              <a:t>Championing projects to strengthen clinical programming and inspire innovative practices grounded in program frameworks, strategic planning, and evidence-based practices.</a:t>
            </a:r>
          </a:p>
          <a:p>
            <a:pPr indent="-230188"/>
            <a:endParaRPr lang="en-US" dirty="0"/>
          </a:p>
          <a:p>
            <a:pPr indent="-230188"/>
            <a:r>
              <a:rPr lang="en-US" dirty="0"/>
              <a:t>Creating a culture of curiosity and learning by teaching, training, researching and publishing in their areas of clinical practice.</a:t>
            </a:r>
          </a:p>
          <a:p>
            <a:pPr indent="-230188"/>
            <a:endParaRPr lang="en-US" dirty="0"/>
          </a:p>
          <a:p>
            <a:pPr indent="-230188"/>
            <a:r>
              <a:rPr lang="en-US" dirty="0"/>
              <a:t>Providing high-quality clinical supervision, case conferencing, and peer review for a multi-disciplinary team of clinicians working with individuals across Guild program areas and settings. C</a:t>
            </a:r>
          </a:p>
          <a:p>
            <a:pPr indent="-230188"/>
            <a:endParaRPr lang="en-US" dirty="0"/>
          </a:p>
          <a:p>
            <a:pPr indent="-230188"/>
            <a:r>
              <a:rPr lang="en-US" dirty="0"/>
              <a:t>Providing consultative support to program leadership teams regarding the implementation of clinical frameworks and practices</a:t>
            </a:r>
          </a:p>
          <a:p>
            <a:endParaRPr lang="en-US" dirty="0"/>
          </a:p>
          <a:p>
            <a:pPr marL="0" indent="0">
              <a:buNone/>
            </a:pPr>
            <a:endParaRPr lang="en-US" dirty="0"/>
          </a:p>
        </p:txBody>
      </p:sp>
      <p:sp>
        <p:nvSpPr>
          <p:cNvPr id="3" name="Title 2">
            <a:extLst>
              <a:ext uri="{FF2B5EF4-FFF2-40B4-BE49-F238E27FC236}">
                <a16:creationId xmlns:a16="http://schemas.microsoft.com/office/drawing/2014/main" id="{C28A1759-CD18-3B9C-D222-0031A488B253}"/>
              </a:ext>
            </a:extLst>
          </p:cNvPr>
          <p:cNvSpPr>
            <a:spLocks noGrp="1"/>
          </p:cNvSpPr>
          <p:nvPr>
            <p:ph type="ctrTitle"/>
          </p:nvPr>
        </p:nvSpPr>
        <p:spPr/>
        <p:txBody>
          <a:bodyPr/>
          <a:lstStyle/>
          <a:p>
            <a:r>
              <a:rPr lang="en-US" dirty="0"/>
              <a:t>Clinical Advisory Group</a:t>
            </a:r>
          </a:p>
        </p:txBody>
      </p:sp>
    </p:spTree>
    <p:extLst>
      <p:ext uri="{BB962C8B-B14F-4D97-AF65-F5344CB8AC3E}">
        <p14:creationId xmlns:p14="http://schemas.microsoft.com/office/powerpoint/2010/main" val="662638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3E3A9A-598C-E0AF-6FE2-B1DD099AD2DF}"/>
              </a:ext>
            </a:extLst>
          </p:cNvPr>
          <p:cNvSpPr>
            <a:spLocks noGrp="1"/>
          </p:cNvSpPr>
          <p:nvPr>
            <p:ph idx="1"/>
          </p:nvPr>
        </p:nvSpPr>
        <p:spPr/>
        <p:txBody>
          <a:bodyPr>
            <a:normAutofit/>
          </a:bodyPr>
          <a:lstStyle/>
          <a:p>
            <a:r>
              <a:rPr lang="en-US" dirty="0"/>
              <a:t>Clinical Advisory Group</a:t>
            </a:r>
          </a:p>
          <a:p>
            <a:pPr lvl="1"/>
            <a:r>
              <a:rPr lang="en-US" dirty="0"/>
              <a:t>Clinical advisors will build relationships and </a:t>
            </a:r>
            <a:r>
              <a:rPr lang="en-US" b="1" dirty="0">
                <a:solidFill>
                  <a:schemeClr val="accent1">
                    <a:lumMod val="75000"/>
                  </a:schemeClr>
                </a:solidFill>
              </a:rPr>
              <a:t>CONNECT</a:t>
            </a:r>
            <a:r>
              <a:rPr lang="en-US" dirty="0"/>
              <a:t> with community resources and partnerships in new ways to advance the agencies mission</a:t>
            </a:r>
          </a:p>
          <a:p>
            <a:pPr lvl="1"/>
            <a:r>
              <a:rPr lang="en-US" dirty="0"/>
              <a:t>The focus of Advisory Group projects over the first year of implementation will prioritize </a:t>
            </a:r>
            <a:r>
              <a:rPr lang="en-US" b="1" dirty="0">
                <a:solidFill>
                  <a:schemeClr val="accent1">
                    <a:lumMod val="75000"/>
                  </a:schemeClr>
                </a:solidFill>
              </a:rPr>
              <a:t>CULTIVATING</a:t>
            </a:r>
            <a:r>
              <a:rPr lang="en-US" dirty="0"/>
              <a:t> program practices that enhance Quality of Life and shared family experiences.</a:t>
            </a:r>
          </a:p>
          <a:p>
            <a:pPr marL="0" indent="0">
              <a:buNone/>
            </a:pPr>
            <a:endParaRPr lang="en-US" dirty="0"/>
          </a:p>
          <a:p>
            <a:r>
              <a:rPr lang="en-US" dirty="0"/>
              <a:t>Programmatic management of direct service providers</a:t>
            </a:r>
          </a:p>
          <a:p>
            <a:pPr lvl="1"/>
            <a:r>
              <a:rPr lang="en-US" b="1" dirty="0">
                <a:solidFill>
                  <a:schemeClr val="accent1">
                    <a:lumMod val="75000"/>
                  </a:schemeClr>
                </a:solidFill>
              </a:rPr>
              <a:t>INTEGRATE</a:t>
            </a:r>
            <a:r>
              <a:rPr lang="en-US" dirty="0"/>
              <a:t> clinical supports into ALL Guild settings in meaningful and effective ways</a:t>
            </a:r>
          </a:p>
          <a:p>
            <a:pPr marL="0" indent="0">
              <a:buNone/>
            </a:pPr>
            <a:endParaRPr lang="en-US" dirty="0"/>
          </a:p>
          <a:p>
            <a:r>
              <a:rPr lang="en-US" dirty="0"/>
              <a:t>Family Services Department</a:t>
            </a:r>
          </a:p>
          <a:p>
            <a:pPr lvl="1"/>
            <a:r>
              <a:rPr lang="en-US" dirty="0"/>
              <a:t>“Invite and </a:t>
            </a:r>
            <a:r>
              <a:rPr lang="en-US" b="1" dirty="0">
                <a:solidFill>
                  <a:schemeClr val="accent1">
                    <a:lumMod val="75000"/>
                  </a:schemeClr>
                </a:solidFill>
              </a:rPr>
              <a:t>INTEGRATE</a:t>
            </a:r>
            <a:r>
              <a:rPr lang="en-US" dirty="0"/>
              <a:t> new residents, families</a:t>
            </a:r>
            <a:r>
              <a:rPr lang="en-US" b="1" dirty="0"/>
              <a:t>,</a:t>
            </a:r>
            <a:r>
              <a:rPr lang="en-US" dirty="0"/>
              <a:t> homes, and staff into The Guild’s programming”</a:t>
            </a:r>
          </a:p>
          <a:p>
            <a:pPr lvl="1"/>
            <a:r>
              <a:rPr lang="en-US" dirty="0"/>
              <a:t>“</a:t>
            </a:r>
            <a:r>
              <a:rPr lang="en-US" b="1" dirty="0">
                <a:solidFill>
                  <a:schemeClr val="accent1">
                    <a:lumMod val="75000"/>
                  </a:schemeClr>
                </a:solidFill>
              </a:rPr>
              <a:t>CULTIVATE</a:t>
            </a:r>
            <a:r>
              <a:rPr lang="en-US" dirty="0"/>
              <a:t> quality of life through consistent engagement”</a:t>
            </a:r>
          </a:p>
          <a:p>
            <a:pPr lvl="2"/>
            <a:endParaRPr lang="en-US" dirty="0"/>
          </a:p>
        </p:txBody>
      </p:sp>
      <p:sp>
        <p:nvSpPr>
          <p:cNvPr id="3" name="Title 2">
            <a:extLst>
              <a:ext uri="{FF2B5EF4-FFF2-40B4-BE49-F238E27FC236}">
                <a16:creationId xmlns:a16="http://schemas.microsoft.com/office/drawing/2014/main" id="{1987B85E-3B31-11C4-8DB0-06BF836E1B8F}"/>
              </a:ext>
            </a:extLst>
          </p:cNvPr>
          <p:cNvSpPr>
            <a:spLocks noGrp="1"/>
          </p:cNvSpPr>
          <p:nvPr>
            <p:ph type="ctrTitle"/>
          </p:nvPr>
        </p:nvSpPr>
        <p:spPr/>
        <p:txBody>
          <a:bodyPr/>
          <a:lstStyle/>
          <a:p>
            <a:r>
              <a:rPr lang="en-US" dirty="0"/>
              <a:t>Reorganization Summary - Revisited</a:t>
            </a:r>
          </a:p>
        </p:txBody>
      </p:sp>
      <p:sp>
        <p:nvSpPr>
          <p:cNvPr id="4" name="Text Placeholder 3">
            <a:extLst>
              <a:ext uri="{FF2B5EF4-FFF2-40B4-BE49-F238E27FC236}">
                <a16:creationId xmlns:a16="http://schemas.microsoft.com/office/drawing/2014/main" id="{60704A1D-4ADF-0FF3-BA0F-34F19FBF466E}"/>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50151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uildPowerpoint template_blank">
  <a:themeElements>
    <a:clrScheme name="GuildColors">
      <a:dk1>
        <a:srgbClr val="04243A"/>
      </a:dk1>
      <a:lt1>
        <a:srgbClr val="FFFFFF"/>
      </a:lt1>
      <a:dk2>
        <a:srgbClr val="A5A5A5"/>
      </a:dk2>
      <a:lt2>
        <a:srgbClr val="A9BAD5"/>
      </a:lt2>
      <a:accent1>
        <a:srgbClr val="002F87"/>
      </a:accent1>
      <a:accent2>
        <a:srgbClr val="FF8300"/>
      </a:accent2>
      <a:accent3>
        <a:srgbClr val="FFD100"/>
      </a:accent3>
      <a:accent4>
        <a:srgbClr val="A1DED2"/>
      </a:accent4>
      <a:accent5>
        <a:srgbClr val="3DAE2B"/>
      </a:accent5>
      <a:accent6>
        <a:srgbClr val="FFE2BB"/>
      </a:accent6>
      <a:hlink>
        <a:srgbClr val="0000BF"/>
      </a:hlink>
      <a:folHlink>
        <a:srgbClr val="800080"/>
      </a:folHlink>
    </a:clrScheme>
    <a:fontScheme name="Guild.CenturyGothic">
      <a:majorFont>
        <a:latin typeface="Century Gothic"/>
        <a:ea typeface=""/>
        <a:cs typeface=""/>
      </a:majorFont>
      <a:minorFont>
        <a:latin typeface="Century Gothic"/>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12F3F186-0860-430D-BD3E-F16A930DBC3B}" vid="{F6B56090-67E1-4DC1-92D8-D560786AE0A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Template>
  <TotalTime>2113</TotalTime>
  <Words>1271</Words>
  <Application>Microsoft Office PowerPoint</Application>
  <PresentationFormat>Widescreen</PresentationFormat>
  <Paragraphs>179</Paragraphs>
  <Slides>10</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Century Gothic</vt:lpstr>
      <vt:lpstr>Wingdings</vt:lpstr>
      <vt:lpstr>GuildPowerpoint template_blank</vt:lpstr>
      <vt:lpstr>think-cell Slide</vt:lpstr>
      <vt:lpstr>Clinical Division Reorganization and Youth Program Integration</vt:lpstr>
      <vt:lpstr>Objectives of Clinical Reorganization and Integration</vt:lpstr>
      <vt:lpstr>Reorganization Summary</vt:lpstr>
      <vt:lpstr>Changes to Clinical Division</vt:lpstr>
      <vt:lpstr>UPDATED Clinical Assignments within Residential Department</vt:lpstr>
      <vt:lpstr>UPDATED Clinical Assignments within Education Department</vt:lpstr>
      <vt:lpstr>Clinical Advisory Support to the Program Division</vt:lpstr>
      <vt:lpstr>Clinical Advisory Group</vt:lpstr>
      <vt:lpstr>Reorganization Summary - Revisited</vt:lpstr>
      <vt:lpstr>Clinical Division Reorganization and Youth Program Integr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nical Division Integration</dc:title>
  <dc:creator>Jennifer Magnuson</dc:creator>
  <cp:lastModifiedBy>Eliza Adams</cp:lastModifiedBy>
  <cp:revision>63</cp:revision>
  <cp:lastPrinted>2023-03-10T17:41:26Z</cp:lastPrinted>
  <dcterms:created xsi:type="dcterms:W3CDTF">2022-12-19T18:29:11Z</dcterms:created>
  <dcterms:modified xsi:type="dcterms:W3CDTF">2023-04-06T16:25:23Z</dcterms:modified>
</cp:coreProperties>
</file>